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8"/>
  </p:notesMasterIdLst>
  <p:sldIdLst>
    <p:sldId id="1510" r:id="rId2"/>
    <p:sldId id="1505" r:id="rId3"/>
    <p:sldId id="1506" r:id="rId4"/>
    <p:sldId id="1507" r:id="rId5"/>
    <p:sldId id="1508" r:id="rId6"/>
    <p:sldId id="1509" r:id="rId7"/>
  </p:sldIdLst>
  <p:sldSz cx="12192000" cy="6858000"/>
  <p:notesSz cx="6858000" cy="9144000"/>
  <p:custDataLst>
    <p:tags r:id="rId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591"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083E6E3-FA7D-4D7B-A595-EF9225AFEA82}">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711" autoAdjust="0"/>
    <p:restoredTop sz="96374" autoAdjust="0"/>
  </p:normalViewPr>
  <p:slideViewPr>
    <p:cSldViewPr snapToObjects="1" showGuides="1">
      <p:cViewPr>
        <p:scale>
          <a:sx n="75" d="100"/>
          <a:sy n="75" d="100"/>
        </p:scale>
        <p:origin x="1190" y="130"/>
      </p:cViewPr>
      <p:guideLst>
        <p:guide orient="horz" pos="2591"/>
        <p:guide pos="3840"/>
      </p:guideLst>
    </p:cSldViewPr>
  </p:slideViewPr>
  <p:notesTextViewPr>
    <p:cViewPr>
      <p:scale>
        <a:sx n="1" d="1"/>
        <a:sy n="1" d="1"/>
      </p:scale>
      <p:origin x="0" y="0"/>
    </p:cViewPr>
  </p:notesTextViewPr>
  <p:notesViewPr>
    <p:cSldViewPr snapToObjects="1" showGuides="1">
      <p:cViewPr varScale="1">
        <p:scale>
          <a:sx n="84" d="100"/>
          <a:sy n="84" d="100"/>
        </p:scale>
        <p:origin x="2622" y="12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mn-lt"/>
              </a:defRPr>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mn-lt"/>
              </a:defRPr>
            </a:lvl1pPr>
          </a:lstStyle>
          <a:p>
            <a:fld id="{B417AC22-2473-4822-8440-20C44103A4D4}" type="datetimeFigureOut">
              <a:rPr lang="de-DE" smtClean="0"/>
              <a:pPr/>
              <a:t>19.09.2024</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latin typeface="Univers LT Std 47 Cn Lt" panose="020B0406020202040204" pitchFamily="34" charset="0"/>
            </a:endParaRPr>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mn-lt"/>
              </a:defRPr>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mn-lt"/>
              </a:defRPr>
            </a:lvl1pPr>
          </a:lstStyle>
          <a:p>
            <a:fld id="{6D13673B-28EA-47AF-BDB9-C168888C00E1}" type="slidenum">
              <a:rPr lang="de-DE" smtClean="0"/>
              <a:pPr/>
              <a:t>‹Nr.›</a:t>
            </a:fld>
            <a:endParaRPr lang="de-DE"/>
          </a:p>
        </p:txBody>
      </p:sp>
    </p:spTree>
    <p:extLst>
      <p:ext uri="{BB962C8B-B14F-4D97-AF65-F5344CB8AC3E}">
        <p14:creationId xmlns:p14="http://schemas.microsoft.com/office/powerpoint/2010/main" val="40525291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D13673B-28EA-47AF-BDB9-C168888C00E1}" type="slidenum">
              <a:rPr lang="de-DE" smtClean="0"/>
              <a:pPr/>
              <a:t>2</a:t>
            </a:fld>
            <a:endParaRPr lang="de-DE"/>
          </a:p>
        </p:txBody>
      </p:sp>
    </p:spTree>
    <p:extLst>
      <p:ext uri="{BB962C8B-B14F-4D97-AF65-F5344CB8AC3E}">
        <p14:creationId xmlns:p14="http://schemas.microsoft.com/office/powerpoint/2010/main" val="12640443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D13673B-28EA-47AF-BDB9-C168888C00E1}" type="slidenum">
              <a:rPr lang="de-DE" smtClean="0"/>
              <a:pPr/>
              <a:t>3</a:t>
            </a:fld>
            <a:endParaRPr lang="de-DE"/>
          </a:p>
        </p:txBody>
      </p:sp>
    </p:spTree>
    <p:extLst>
      <p:ext uri="{BB962C8B-B14F-4D97-AF65-F5344CB8AC3E}">
        <p14:creationId xmlns:p14="http://schemas.microsoft.com/office/powerpoint/2010/main" val="14611300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D13673B-28EA-47AF-BDB9-C168888C00E1}" type="slidenum">
              <a:rPr lang="de-DE" smtClean="0"/>
              <a:pPr/>
              <a:t>4</a:t>
            </a:fld>
            <a:endParaRPr lang="de-DE"/>
          </a:p>
        </p:txBody>
      </p:sp>
    </p:spTree>
    <p:extLst>
      <p:ext uri="{BB962C8B-B14F-4D97-AF65-F5344CB8AC3E}">
        <p14:creationId xmlns:p14="http://schemas.microsoft.com/office/powerpoint/2010/main" val="7809752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D13673B-28EA-47AF-BDB9-C168888C00E1}" type="slidenum">
              <a:rPr lang="de-DE" smtClean="0"/>
              <a:pPr/>
              <a:t>5</a:t>
            </a:fld>
            <a:endParaRPr lang="de-DE"/>
          </a:p>
        </p:txBody>
      </p:sp>
    </p:spTree>
    <p:extLst>
      <p:ext uri="{BB962C8B-B14F-4D97-AF65-F5344CB8AC3E}">
        <p14:creationId xmlns:p14="http://schemas.microsoft.com/office/powerpoint/2010/main" val="30333325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D13673B-28EA-47AF-BDB9-C168888C00E1}" type="slidenum">
              <a:rPr lang="de-DE" smtClean="0"/>
              <a:pPr/>
              <a:t>6</a:t>
            </a:fld>
            <a:endParaRPr lang="de-DE"/>
          </a:p>
        </p:txBody>
      </p:sp>
    </p:spTree>
    <p:extLst>
      <p:ext uri="{BB962C8B-B14F-4D97-AF65-F5344CB8AC3E}">
        <p14:creationId xmlns:p14="http://schemas.microsoft.com/office/powerpoint/2010/main" val="39672871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8.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1.xml"/><Relationship Id="rId10" Type="http://schemas.openxmlformats.org/officeDocument/2006/relationships/image" Target="../media/image7.jpeg"/><Relationship Id="rId4" Type="http://schemas.openxmlformats.org/officeDocument/2006/relationships/tags" Target="../tags/tag19.xml"/><Relationship Id="rId9" Type="http://schemas.openxmlformats.org/officeDocument/2006/relationships/hyperlink" Target="http://www.dallmer.de/" TargetMode="Externa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dunkel">
    <p:bg>
      <p:bgPr>
        <a:solidFill>
          <a:schemeClr val="tx1"/>
        </a:solidFill>
        <a:effectLst/>
      </p:bgPr>
    </p:bg>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9423D010-A3B9-7039-EA21-56726937B545}"/>
              </a:ext>
            </a:extLst>
          </p:cNvPr>
          <p:cNvGraphicFramePr>
            <a:graphicFrameLocks noChangeAspect="1"/>
          </p:cNvGraphicFramePr>
          <p:nvPr userDrawn="1">
            <p:custDataLst>
              <p:tags r:id="rId2"/>
            </p:custDataLst>
            <p:extLst>
              <p:ext uri="{D42A27DB-BD31-4B8C-83A1-F6EECF244321}">
                <p14:modId xmlns:p14="http://schemas.microsoft.com/office/powerpoint/2010/main" val="3139209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2" name="think-cell Folie" r:id="rId4" imgW="592" imgH="591" progId="TCLayout.ActiveDocument.1">
                  <p:embed/>
                </p:oleObj>
              </mc:Choice>
              <mc:Fallback>
                <p:oleObj name="think-cell Folie"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A85BDC5-E338-2798-3015-0493E7D8E11D}"/>
              </a:ext>
            </a:extLst>
          </p:cNvPr>
          <p:cNvSpPr>
            <a:spLocks noGrp="1"/>
          </p:cNvSpPr>
          <p:nvPr>
            <p:ph type="ctrTitle"/>
          </p:nvPr>
        </p:nvSpPr>
        <p:spPr>
          <a:xfrm>
            <a:off x="407990" y="335563"/>
            <a:ext cx="5328009" cy="969496"/>
          </a:xfrm>
        </p:spPr>
        <p:txBody>
          <a:bodyPr vert="horz" anchor="t"/>
          <a:lstStyle>
            <a:lvl1pPr algn="l">
              <a:defRPr sz="3500">
                <a:solidFill>
                  <a:schemeClr val="bg1"/>
                </a:solidFill>
              </a:defRPr>
            </a:lvl1pPr>
          </a:lstStyle>
          <a:p>
            <a:r>
              <a:rPr lang="de-DE"/>
              <a:t>Mastertitelformat bearbeiten</a:t>
            </a:r>
            <a:endParaRPr lang="en-US" dirty="0"/>
          </a:p>
        </p:txBody>
      </p:sp>
      <p:sp>
        <p:nvSpPr>
          <p:cNvPr id="3" name="Untertitel 2">
            <a:extLst>
              <a:ext uri="{FF2B5EF4-FFF2-40B4-BE49-F238E27FC236}">
                <a16:creationId xmlns:a16="http://schemas.microsoft.com/office/drawing/2014/main" id="{77CD5D4E-D25C-ACC3-DA5D-91886EEC9E7F}"/>
              </a:ext>
            </a:extLst>
          </p:cNvPr>
          <p:cNvSpPr>
            <a:spLocks noGrp="1"/>
          </p:cNvSpPr>
          <p:nvPr>
            <p:ph type="subTitle" idx="1"/>
          </p:nvPr>
        </p:nvSpPr>
        <p:spPr>
          <a:xfrm>
            <a:off x="407990" y="1977683"/>
            <a:ext cx="5328009" cy="1655762"/>
          </a:xfrm>
        </p:spPr>
        <p:txBody>
          <a:bodyPr/>
          <a:lstStyle>
            <a:lvl1pPr marL="0" indent="0" algn="l">
              <a:spcBef>
                <a:spcPts val="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grpSp>
        <p:nvGrpSpPr>
          <p:cNvPr id="22" name="Grafik 23">
            <a:extLst>
              <a:ext uri="{FF2B5EF4-FFF2-40B4-BE49-F238E27FC236}">
                <a16:creationId xmlns:a16="http://schemas.microsoft.com/office/drawing/2014/main" id="{4E752B44-9257-E045-0D76-82B15DC5C0CE}"/>
              </a:ext>
            </a:extLst>
          </p:cNvPr>
          <p:cNvGrpSpPr>
            <a:grpSpLocks noChangeAspect="1"/>
          </p:cNvGrpSpPr>
          <p:nvPr userDrawn="1"/>
        </p:nvGrpSpPr>
        <p:grpSpPr>
          <a:xfrm>
            <a:off x="407989" y="6387890"/>
            <a:ext cx="1296000" cy="223871"/>
            <a:chOff x="3042261" y="4495188"/>
            <a:chExt cx="3720761" cy="642716"/>
          </a:xfrm>
          <a:solidFill>
            <a:schemeClr val="bg1"/>
          </a:solidFill>
        </p:grpSpPr>
        <p:sp>
          <p:nvSpPr>
            <p:cNvPr id="23" name="Freihandform: Form 22">
              <a:extLst>
                <a:ext uri="{FF2B5EF4-FFF2-40B4-BE49-F238E27FC236}">
                  <a16:creationId xmlns:a16="http://schemas.microsoft.com/office/drawing/2014/main" id="{A6C53CC2-7BAD-29AA-A29A-2010FA9AF7AF}"/>
                </a:ext>
              </a:extLst>
            </p:cNvPr>
            <p:cNvSpPr/>
            <p:nvPr/>
          </p:nvSpPr>
          <p:spPr>
            <a:xfrm>
              <a:off x="3042261" y="4495188"/>
              <a:ext cx="450339" cy="638344"/>
            </a:xfrm>
            <a:custGeom>
              <a:avLst/>
              <a:gdLst>
                <a:gd name="connsiteX0" fmla="*/ 262333 w 450339"/>
                <a:gd name="connsiteY0" fmla="*/ 638345 h 638344"/>
                <a:gd name="connsiteX1" fmla="*/ 251403 w 450339"/>
                <a:gd name="connsiteY1" fmla="*/ 638345 h 638344"/>
                <a:gd name="connsiteX2" fmla="*/ 0 w 450339"/>
                <a:gd name="connsiteY2" fmla="*/ 638345 h 638344"/>
                <a:gd name="connsiteX3" fmla="*/ 0 w 450339"/>
                <a:gd name="connsiteY3" fmla="*/ 0 h 638344"/>
                <a:gd name="connsiteX4" fmla="*/ 266706 w 450339"/>
                <a:gd name="connsiteY4" fmla="*/ 0 h 638344"/>
                <a:gd name="connsiteX5" fmla="*/ 450339 w 450339"/>
                <a:gd name="connsiteY5" fmla="*/ 192378 h 638344"/>
                <a:gd name="connsiteX6" fmla="*/ 450339 w 450339"/>
                <a:gd name="connsiteY6" fmla="*/ 452525 h 638344"/>
                <a:gd name="connsiteX7" fmla="*/ 393500 w 450339"/>
                <a:gd name="connsiteY7" fmla="*/ 598995 h 638344"/>
                <a:gd name="connsiteX8" fmla="*/ 262333 w 450339"/>
                <a:gd name="connsiteY8" fmla="*/ 638345 h 638344"/>
                <a:gd name="connsiteX9" fmla="*/ 137725 w 450339"/>
                <a:gd name="connsiteY9" fmla="*/ 500620 h 638344"/>
                <a:gd name="connsiteX10" fmla="*/ 257961 w 450339"/>
                <a:gd name="connsiteY10" fmla="*/ 500620 h 638344"/>
                <a:gd name="connsiteX11" fmla="*/ 319172 w 450339"/>
                <a:gd name="connsiteY11" fmla="*/ 445967 h 638344"/>
                <a:gd name="connsiteX12" fmla="*/ 319172 w 450339"/>
                <a:gd name="connsiteY12" fmla="*/ 196750 h 638344"/>
                <a:gd name="connsiteX13" fmla="*/ 255775 w 450339"/>
                <a:gd name="connsiteY13" fmla="*/ 135539 h 638344"/>
                <a:gd name="connsiteX14" fmla="*/ 135539 w 450339"/>
                <a:gd name="connsiteY14" fmla="*/ 135539 h 638344"/>
                <a:gd name="connsiteX15" fmla="*/ 135539 w 450339"/>
                <a:gd name="connsiteY15" fmla="*/ 500620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339" h="638344">
                  <a:moveTo>
                    <a:pt x="262333" y="638345"/>
                  </a:moveTo>
                  <a:cubicBezTo>
                    <a:pt x="257961" y="638345"/>
                    <a:pt x="255775" y="638345"/>
                    <a:pt x="251403" y="638345"/>
                  </a:cubicBezTo>
                  <a:lnTo>
                    <a:pt x="0" y="638345"/>
                  </a:lnTo>
                  <a:lnTo>
                    <a:pt x="0" y="0"/>
                  </a:lnTo>
                  <a:lnTo>
                    <a:pt x="266706" y="0"/>
                  </a:lnTo>
                  <a:cubicBezTo>
                    <a:pt x="391314" y="0"/>
                    <a:pt x="450339" y="61211"/>
                    <a:pt x="450339" y="192378"/>
                  </a:cubicBezTo>
                  <a:lnTo>
                    <a:pt x="450339" y="452525"/>
                  </a:lnTo>
                  <a:cubicBezTo>
                    <a:pt x="450339" y="518108"/>
                    <a:pt x="430664" y="566203"/>
                    <a:pt x="393500" y="598995"/>
                  </a:cubicBezTo>
                  <a:cubicBezTo>
                    <a:pt x="362895" y="625228"/>
                    <a:pt x="319172" y="638345"/>
                    <a:pt x="262333" y="638345"/>
                  </a:cubicBezTo>
                  <a:close/>
                  <a:moveTo>
                    <a:pt x="137725" y="500620"/>
                  </a:moveTo>
                  <a:lnTo>
                    <a:pt x="257961" y="500620"/>
                  </a:lnTo>
                  <a:cubicBezTo>
                    <a:pt x="288567" y="500620"/>
                    <a:pt x="314800" y="478758"/>
                    <a:pt x="319172" y="445967"/>
                  </a:cubicBezTo>
                  <a:lnTo>
                    <a:pt x="319172" y="196750"/>
                  </a:lnTo>
                  <a:cubicBezTo>
                    <a:pt x="319172" y="163958"/>
                    <a:pt x="290753" y="135539"/>
                    <a:pt x="255775" y="135539"/>
                  </a:cubicBezTo>
                  <a:lnTo>
                    <a:pt x="135539" y="135539"/>
                  </a:lnTo>
                  <a:lnTo>
                    <a:pt x="135539" y="500620"/>
                  </a:lnTo>
                  <a:close/>
                </a:path>
              </a:pathLst>
            </a:custGeom>
            <a:grpFill/>
            <a:ln w="21819" cap="flat">
              <a:noFill/>
              <a:prstDash val="solid"/>
              <a:miter/>
            </a:ln>
          </p:spPr>
          <p:txBody>
            <a:bodyPr rtlCol="0" anchor="ctr"/>
            <a:lstStyle/>
            <a:p>
              <a:endParaRPr lang="de-DE"/>
            </a:p>
          </p:txBody>
        </p:sp>
        <p:sp>
          <p:nvSpPr>
            <p:cNvPr id="24" name="Freihandform: Form 23">
              <a:extLst>
                <a:ext uri="{FF2B5EF4-FFF2-40B4-BE49-F238E27FC236}">
                  <a16:creationId xmlns:a16="http://schemas.microsoft.com/office/drawing/2014/main" id="{31A9B081-97C2-20F7-6A5C-7C4D15054E6D}"/>
                </a:ext>
              </a:extLst>
            </p:cNvPr>
            <p:cNvSpPr/>
            <p:nvPr/>
          </p:nvSpPr>
          <p:spPr>
            <a:xfrm>
              <a:off x="3612836" y="4495188"/>
              <a:ext cx="461269" cy="638344"/>
            </a:xfrm>
            <a:custGeom>
              <a:avLst/>
              <a:gdLst>
                <a:gd name="connsiteX0" fmla="*/ 461269 w 461269"/>
                <a:gd name="connsiteY0" fmla="*/ 638345 h 638344"/>
                <a:gd name="connsiteX1" fmla="*/ 323544 w 461269"/>
                <a:gd name="connsiteY1" fmla="*/ 638345 h 638344"/>
                <a:gd name="connsiteX2" fmla="*/ 323544 w 461269"/>
                <a:gd name="connsiteY2" fmla="*/ 487503 h 638344"/>
                <a:gd name="connsiteX3" fmla="*/ 137725 w 461269"/>
                <a:gd name="connsiteY3" fmla="*/ 487503 h 638344"/>
                <a:gd name="connsiteX4" fmla="*/ 137725 w 461269"/>
                <a:gd name="connsiteY4" fmla="*/ 638345 h 638344"/>
                <a:gd name="connsiteX5" fmla="*/ 0 w 461269"/>
                <a:gd name="connsiteY5" fmla="*/ 638345 h 638344"/>
                <a:gd name="connsiteX6" fmla="*/ 0 w 461269"/>
                <a:gd name="connsiteY6" fmla="*/ 188006 h 638344"/>
                <a:gd name="connsiteX7" fmla="*/ 190192 w 461269"/>
                <a:gd name="connsiteY7" fmla="*/ 0 h 638344"/>
                <a:gd name="connsiteX8" fmla="*/ 268892 w 461269"/>
                <a:gd name="connsiteY8" fmla="*/ 0 h 638344"/>
                <a:gd name="connsiteX9" fmla="*/ 461269 w 461269"/>
                <a:gd name="connsiteY9" fmla="*/ 192378 h 638344"/>
                <a:gd name="connsiteX10" fmla="*/ 461269 w 461269"/>
                <a:gd name="connsiteY10" fmla="*/ 638345 h 638344"/>
                <a:gd name="connsiteX11" fmla="*/ 137725 w 461269"/>
                <a:gd name="connsiteY11" fmla="*/ 351964 h 638344"/>
                <a:gd name="connsiteX12" fmla="*/ 323544 w 461269"/>
                <a:gd name="connsiteY12" fmla="*/ 351964 h 638344"/>
                <a:gd name="connsiteX13" fmla="*/ 323544 w 461269"/>
                <a:gd name="connsiteY13" fmla="*/ 201122 h 638344"/>
                <a:gd name="connsiteX14" fmla="*/ 262333 w 461269"/>
                <a:gd name="connsiteY14" fmla="*/ 135539 h 638344"/>
                <a:gd name="connsiteX15" fmla="*/ 198936 w 461269"/>
                <a:gd name="connsiteY15" fmla="*/ 135539 h 638344"/>
                <a:gd name="connsiteX16" fmla="*/ 137725 w 461269"/>
                <a:gd name="connsiteY16" fmla="*/ 194564 h 638344"/>
                <a:gd name="connsiteX17" fmla="*/ 137725 w 461269"/>
                <a:gd name="connsiteY17" fmla="*/ 351964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61269" h="638344">
                  <a:moveTo>
                    <a:pt x="461269" y="638345"/>
                  </a:moveTo>
                  <a:lnTo>
                    <a:pt x="323544" y="638345"/>
                  </a:lnTo>
                  <a:lnTo>
                    <a:pt x="323544" y="487503"/>
                  </a:lnTo>
                  <a:lnTo>
                    <a:pt x="137725" y="487503"/>
                  </a:lnTo>
                  <a:lnTo>
                    <a:pt x="137725" y="638345"/>
                  </a:lnTo>
                  <a:lnTo>
                    <a:pt x="0" y="638345"/>
                  </a:lnTo>
                  <a:lnTo>
                    <a:pt x="0" y="188006"/>
                  </a:lnTo>
                  <a:cubicBezTo>
                    <a:pt x="0" y="61211"/>
                    <a:pt x="63397" y="0"/>
                    <a:pt x="190192" y="0"/>
                  </a:cubicBezTo>
                  <a:lnTo>
                    <a:pt x="268892" y="0"/>
                  </a:lnTo>
                  <a:cubicBezTo>
                    <a:pt x="397872" y="0"/>
                    <a:pt x="461269" y="63397"/>
                    <a:pt x="461269" y="192378"/>
                  </a:cubicBezTo>
                  <a:lnTo>
                    <a:pt x="461269" y="638345"/>
                  </a:lnTo>
                  <a:close/>
                  <a:moveTo>
                    <a:pt x="137725" y="351964"/>
                  </a:moveTo>
                  <a:lnTo>
                    <a:pt x="323544" y="351964"/>
                  </a:lnTo>
                  <a:lnTo>
                    <a:pt x="323544" y="201122"/>
                  </a:lnTo>
                  <a:cubicBezTo>
                    <a:pt x="323544" y="163958"/>
                    <a:pt x="295125" y="135539"/>
                    <a:pt x="262333" y="135539"/>
                  </a:cubicBezTo>
                  <a:lnTo>
                    <a:pt x="198936" y="135539"/>
                  </a:lnTo>
                  <a:cubicBezTo>
                    <a:pt x="163958" y="135539"/>
                    <a:pt x="137725" y="161772"/>
                    <a:pt x="137725" y="194564"/>
                  </a:cubicBezTo>
                  <a:lnTo>
                    <a:pt x="137725" y="351964"/>
                  </a:lnTo>
                  <a:close/>
                </a:path>
              </a:pathLst>
            </a:custGeom>
            <a:grpFill/>
            <a:ln w="21819" cap="flat">
              <a:noFill/>
              <a:prstDash val="solid"/>
              <a:miter/>
            </a:ln>
          </p:spPr>
          <p:txBody>
            <a:bodyPr rtlCol="0" anchor="ctr"/>
            <a:lstStyle/>
            <a:p>
              <a:endParaRPr lang="de-DE"/>
            </a:p>
          </p:txBody>
        </p:sp>
        <p:sp>
          <p:nvSpPr>
            <p:cNvPr id="25" name="Freihandform: Form 24">
              <a:extLst>
                <a:ext uri="{FF2B5EF4-FFF2-40B4-BE49-F238E27FC236}">
                  <a16:creationId xmlns:a16="http://schemas.microsoft.com/office/drawing/2014/main" id="{6C07CA86-CC65-AF69-8C6B-50AC00EAE161}"/>
                </a:ext>
              </a:extLst>
            </p:cNvPr>
            <p:cNvSpPr/>
            <p:nvPr/>
          </p:nvSpPr>
          <p:spPr>
            <a:xfrm>
              <a:off x="4205272" y="4495188"/>
              <a:ext cx="327916" cy="638344"/>
            </a:xfrm>
            <a:custGeom>
              <a:avLst/>
              <a:gdLst>
                <a:gd name="connsiteX0" fmla="*/ 327917 w 327916"/>
                <a:gd name="connsiteY0" fmla="*/ 638345 h 638344"/>
                <a:gd name="connsiteX1" fmla="*/ 0 w 327916"/>
                <a:gd name="connsiteY1" fmla="*/ 638345 h 638344"/>
                <a:gd name="connsiteX2" fmla="*/ 0 w 327916"/>
                <a:gd name="connsiteY2" fmla="*/ 0 h 638344"/>
                <a:gd name="connsiteX3" fmla="*/ 137725 w 327916"/>
                <a:gd name="connsiteY3" fmla="*/ 0 h 638344"/>
                <a:gd name="connsiteX4" fmla="*/ 137725 w 327916"/>
                <a:gd name="connsiteY4" fmla="*/ 500620 h 638344"/>
                <a:gd name="connsiteX5" fmla="*/ 327917 w 327916"/>
                <a:gd name="connsiteY5" fmla="*/ 500620 h 638344"/>
                <a:gd name="connsiteX6" fmla="*/ 327917 w 327916"/>
                <a:gd name="connsiteY6" fmla="*/ 638345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916" h="638344">
                  <a:moveTo>
                    <a:pt x="327917" y="638345"/>
                  </a:moveTo>
                  <a:lnTo>
                    <a:pt x="0" y="638345"/>
                  </a:lnTo>
                  <a:lnTo>
                    <a:pt x="0" y="0"/>
                  </a:lnTo>
                  <a:lnTo>
                    <a:pt x="137725" y="0"/>
                  </a:lnTo>
                  <a:lnTo>
                    <a:pt x="137725" y="500620"/>
                  </a:lnTo>
                  <a:lnTo>
                    <a:pt x="327917" y="500620"/>
                  </a:lnTo>
                  <a:lnTo>
                    <a:pt x="327917" y="638345"/>
                  </a:lnTo>
                  <a:close/>
                </a:path>
              </a:pathLst>
            </a:custGeom>
            <a:grpFill/>
            <a:ln w="21819"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AF03A757-4A87-6815-B48B-65B9C776377A}"/>
                </a:ext>
              </a:extLst>
            </p:cNvPr>
            <p:cNvSpPr/>
            <p:nvPr/>
          </p:nvSpPr>
          <p:spPr>
            <a:xfrm>
              <a:off x="4627192" y="4495188"/>
              <a:ext cx="327916" cy="638344"/>
            </a:xfrm>
            <a:custGeom>
              <a:avLst/>
              <a:gdLst>
                <a:gd name="connsiteX0" fmla="*/ 325730 w 327916"/>
                <a:gd name="connsiteY0" fmla="*/ 638345 h 638344"/>
                <a:gd name="connsiteX1" fmla="*/ 0 w 327916"/>
                <a:gd name="connsiteY1" fmla="*/ 638345 h 638344"/>
                <a:gd name="connsiteX2" fmla="*/ 0 w 327916"/>
                <a:gd name="connsiteY2" fmla="*/ 0 h 638344"/>
                <a:gd name="connsiteX3" fmla="*/ 137725 w 327916"/>
                <a:gd name="connsiteY3" fmla="*/ 0 h 638344"/>
                <a:gd name="connsiteX4" fmla="*/ 137725 w 327916"/>
                <a:gd name="connsiteY4" fmla="*/ 500620 h 638344"/>
                <a:gd name="connsiteX5" fmla="*/ 327917 w 327916"/>
                <a:gd name="connsiteY5" fmla="*/ 500620 h 638344"/>
                <a:gd name="connsiteX6" fmla="*/ 327917 w 327916"/>
                <a:gd name="connsiteY6" fmla="*/ 638345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916" h="638344">
                  <a:moveTo>
                    <a:pt x="325730" y="638345"/>
                  </a:moveTo>
                  <a:lnTo>
                    <a:pt x="0" y="638345"/>
                  </a:lnTo>
                  <a:lnTo>
                    <a:pt x="0" y="0"/>
                  </a:lnTo>
                  <a:lnTo>
                    <a:pt x="137725" y="0"/>
                  </a:lnTo>
                  <a:lnTo>
                    <a:pt x="137725" y="500620"/>
                  </a:lnTo>
                  <a:lnTo>
                    <a:pt x="327917" y="500620"/>
                  </a:lnTo>
                  <a:lnTo>
                    <a:pt x="327917" y="638345"/>
                  </a:lnTo>
                  <a:close/>
                </a:path>
              </a:pathLst>
            </a:custGeom>
            <a:grpFill/>
            <a:ln w="21819" cap="flat">
              <a:noFill/>
              <a:prstDash val="solid"/>
              <a:miter/>
            </a:ln>
          </p:spPr>
          <p:txBody>
            <a:bodyPr rtlCol="0" anchor="ctr"/>
            <a:lstStyle/>
            <a:p>
              <a:endParaRPr lang="de-DE"/>
            </a:p>
          </p:txBody>
        </p:sp>
        <p:sp>
          <p:nvSpPr>
            <p:cNvPr id="27" name="Freihandform: Form 26">
              <a:extLst>
                <a:ext uri="{FF2B5EF4-FFF2-40B4-BE49-F238E27FC236}">
                  <a16:creationId xmlns:a16="http://schemas.microsoft.com/office/drawing/2014/main" id="{7EA6662F-D9A6-E4FF-5F1E-90BEE28F5DEE}"/>
                </a:ext>
              </a:extLst>
            </p:cNvPr>
            <p:cNvSpPr/>
            <p:nvPr/>
          </p:nvSpPr>
          <p:spPr>
            <a:xfrm>
              <a:off x="5849228" y="4495188"/>
              <a:ext cx="349777" cy="638344"/>
            </a:xfrm>
            <a:custGeom>
              <a:avLst/>
              <a:gdLst>
                <a:gd name="connsiteX0" fmla="*/ 349778 w 349777"/>
                <a:gd name="connsiteY0" fmla="*/ 638345 h 638344"/>
                <a:gd name="connsiteX1" fmla="*/ 0 w 349777"/>
                <a:gd name="connsiteY1" fmla="*/ 638345 h 638344"/>
                <a:gd name="connsiteX2" fmla="*/ 0 w 349777"/>
                <a:gd name="connsiteY2" fmla="*/ 0 h 638344"/>
                <a:gd name="connsiteX3" fmla="*/ 349778 w 349777"/>
                <a:gd name="connsiteY3" fmla="*/ 0 h 638344"/>
                <a:gd name="connsiteX4" fmla="*/ 349778 w 349777"/>
                <a:gd name="connsiteY4" fmla="*/ 137725 h 638344"/>
                <a:gd name="connsiteX5" fmla="*/ 137725 w 349777"/>
                <a:gd name="connsiteY5" fmla="*/ 137725 h 638344"/>
                <a:gd name="connsiteX6" fmla="*/ 137725 w 349777"/>
                <a:gd name="connsiteY6" fmla="*/ 251403 h 638344"/>
                <a:gd name="connsiteX7" fmla="*/ 349778 w 349777"/>
                <a:gd name="connsiteY7" fmla="*/ 251403 h 638344"/>
                <a:gd name="connsiteX8" fmla="*/ 349778 w 349777"/>
                <a:gd name="connsiteY8" fmla="*/ 389128 h 638344"/>
                <a:gd name="connsiteX9" fmla="*/ 137725 w 349777"/>
                <a:gd name="connsiteY9" fmla="*/ 389128 h 638344"/>
                <a:gd name="connsiteX10" fmla="*/ 137725 w 349777"/>
                <a:gd name="connsiteY10" fmla="*/ 500620 h 638344"/>
                <a:gd name="connsiteX11" fmla="*/ 349778 w 349777"/>
                <a:gd name="connsiteY11" fmla="*/ 500620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9777" h="638344">
                  <a:moveTo>
                    <a:pt x="349778" y="638345"/>
                  </a:moveTo>
                  <a:lnTo>
                    <a:pt x="0" y="638345"/>
                  </a:lnTo>
                  <a:lnTo>
                    <a:pt x="0" y="0"/>
                  </a:lnTo>
                  <a:lnTo>
                    <a:pt x="349778" y="0"/>
                  </a:lnTo>
                  <a:lnTo>
                    <a:pt x="349778" y="137725"/>
                  </a:lnTo>
                  <a:lnTo>
                    <a:pt x="137725" y="137725"/>
                  </a:lnTo>
                  <a:lnTo>
                    <a:pt x="137725" y="251403"/>
                  </a:lnTo>
                  <a:lnTo>
                    <a:pt x="349778" y="251403"/>
                  </a:lnTo>
                  <a:lnTo>
                    <a:pt x="349778" y="389128"/>
                  </a:lnTo>
                  <a:lnTo>
                    <a:pt x="137725" y="389128"/>
                  </a:lnTo>
                  <a:lnTo>
                    <a:pt x="137725" y="500620"/>
                  </a:lnTo>
                  <a:lnTo>
                    <a:pt x="349778" y="500620"/>
                  </a:lnTo>
                  <a:close/>
                </a:path>
              </a:pathLst>
            </a:custGeom>
            <a:grpFill/>
            <a:ln w="21819"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CEF51744-D32D-3344-734E-CC6EDA2B7051}"/>
                </a:ext>
              </a:extLst>
            </p:cNvPr>
            <p:cNvSpPr/>
            <p:nvPr/>
          </p:nvSpPr>
          <p:spPr>
            <a:xfrm>
              <a:off x="6321428" y="4495188"/>
              <a:ext cx="441594" cy="638344"/>
            </a:xfrm>
            <a:custGeom>
              <a:avLst/>
              <a:gdLst>
                <a:gd name="connsiteX0" fmla="*/ 439408 w 441594"/>
                <a:gd name="connsiteY0" fmla="*/ 450339 h 638344"/>
                <a:gd name="connsiteX1" fmla="*/ 391314 w 441594"/>
                <a:gd name="connsiteY1" fmla="*/ 360708 h 638344"/>
                <a:gd name="connsiteX2" fmla="*/ 439408 w 441594"/>
                <a:gd name="connsiteY2" fmla="*/ 273264 h 638344"/>
                <a:gd name="connsiteX3" fmla="*/ 439408 w 441594"/>
                <a:gd name="connsiteY3" fmla="*/ 179261 h 638344"/>
                <a:gd name="connsiteX4" fmla="*/ 266706 w 441594"/>
                <a:gd name="connsiteY4" fmla="*/ 0 h 638344"/>
                <a:gd name="connsiteX5" fmla="*/ 0 w 441594"/>
                <a:gd name="connsiteY5" fmla="*/ 0 h 638344"/>
                <a:gd name="connsiteX6" fmla="*/ 0 w 441594"/>
                <a:gd name="connsiteY6" fmla="*/ 638345 h 638344"/>
                <a:gd name="connsiteX7" fmla="*/ 137725 w 441594"/>
                <a:gd name="connsiteY7" fmla="*/ 638345 h 638344"/>
                <a:gd name="connsiteX8" fmla="*/ 137725 w 441594"/>
                <a:gd name="connsiteY8" fmla="*/ 435036 h 638344"/>
                <a:gd name="connsiteX9" fmla="*/ 251403 w 441594"/>
                <a:gd name="connsiteY9" fmla="*/ 435036 h 638344"/>
                <a:gd name="connsiteX10" fmla="*/ 314800 w 441594"/>
                <a:gd name="connsiteY10" fmla="*/ 500620 h 638344"/>
                <a:gd name="connsiteX11" fmla="*/ 314800 w 441594"/>
                <a:gd name="connsiteY11" fmla="*/ 638345 h 638344"/>
                <a:gd name="connsiteX12" fmla="*/ 441594 w 441594"/>
                <a:gd name="connsiteY12" fmla="*/ 638345 h 638344"/>
                <a:gd name="connsiteX13" fmla="*/ 439408 w 441594"/>
                <a:gd name="connsiteY13" fmla="*/ 450339 h 638344"/>
                <a:gd name="connsiteX14" fmla="*/ 312614 w 441594"/>
                <a:gd name="connsiteY14" fmla="*/ 244844 h 638344"/>
                <a:gd name="connsiteX15" fmla="*/ 251403 w 441594"/>
                <a:gd name="connsiteY15" fmla="*/ 306056 h 638344"/>
                <a:gd name="connsiteX16" fmla="*/ 137725 w 441594"/>
                <a:gd name="connsiteY16" fmla="*/ 306056 h 638344"/>
                <a:gd name="connsiteX17" fmla="*/ 137725 w 441594"/>
                <a:gd name="connsiteY17" fmla="*/ 135539 h 638344"/>
                <a:gd name="connsiteX18" fmla="*/ 251403 w 441594"/>
                <a:gd name="connsiteY18" fmla="*/ 135539 h 638344"/>
                <a:gd name="connsiteX19" fmla="*/ 314800 w 441594"/>
                <a:gd name="connsiteY19" fmla="*/ 196750 h 638344"/>
                <a:gd name="connsiteX20" fmla="*/ 314800 w 441594"/>
                <a:gd name="connsiteY20" fmla="*/ 244844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41594" h="638344">
                  <a:moveTo>
                    <a:pt x="439408" y="450339"/>
                  </a:moveTo>
                  <a:cubicBezTo>
                    <a:pt x="439408" y="395686"/>
                    <a:pt x="406617" y="369453"/>
                    <a:pt x="391314" y="360708"/>
                  </a:cubicBezTo>
                  <a:cubicBezTo>
                    <a:pt x="408803" y="349778"/>
                    <a:pt x="439408" y="323545"/>
                    <a:pt x="439408" y="273264"/>
                  </a:cubicBezTo>
                  <a:cubicBezTo>
                    <a:pt x="439408" y="238286"/>
                    <a:pt x="439408" y="179261"/>
                    <a:pt x="439408" y="179261"/>
                  </a:cubicBezTo>
                  <a:cubicBezTo>
                    <a:pt x="439408" y="26233"/>
                    <a:pt x="384755" y="0"/>
                    <a:pt x="266706" y="0"/>
                  </a:cubicBezTo>
                  <a:lnTo>
                    <a:pt x="0" y="0"/>
                  </a:lnTo>
                  <a:lnTo>
                    <a:pt x="0" y="638345"/>
                  </a:lnTo>
                  <a:lnTo>
                    <a:pt x="137725" y="638345"/>
                  </a:lnTo>
                  <a:lnTo>
                    <a:pt x="137725" y="435036"/>
                  </a:lnTo>
                  <a:lnTo>
                    <a:pt x="251403" y="435036"/>
                  </a:lnTo>
                  <a:cubicBezTo>
                    <a:pt x="301683" y="435036"/>
                    <a:pt x="314800" y="459083"/>
                    <a:pt x="314800" y="500620"/>
                  </a:cubicBezTo>
                  <a:lnTo>
                    <a:pt x="314800" y="638345"/>
                  </a:lnTo>
                  <a:lnTo>
                    <a:pt x="441594" y="638345"/>
                  </a:lnTo>
                  <a:lnTo>
                    <a:pt x="439408" y="450339"/>
                  </a:lnTo>
                  <a:close/>
                  <a:moveTo>
                    <a:pt x="312614" y="244844"/>
                  </a:moveTo>
                  <a:cubicBezTo>
                    <a:pt x="312614" y="277636"/>
                    <a:pt x="284195" y="306056"/>
                    <a:pt x="251403" y="306056"/>
                  </a:cubicBezTo>
                  <a:lnTo>
                    <a:pt x="137725" y="306056"/>
                  </a:lnTo>
                  <a:lnTo>
                    <a:pt x="137725" y="135539"/>
                  </a:lnTo>
                  <a:lnTo>
                    <a:pt x="251403" y="135539"/>
                  </a:lnTo>
                  <a:cubicBezTo>
                    <a:pt x="290753" y="135539"/>
                    <a:pt x="314800" y="166144"/>
                    <a:pt x="314800" y="196750"/>
                  </a:cubicBezTo>
                  <a:lnTo>
                    <a:pt x="314800" y="244844"/>
                  </a:lnTo>
                  <a:close/>
                </a:path>
              </a:pathLst>
            </a:custGeom>
            <a:grpFill/>
            <a:ln w="21819"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D7F20FC5-F85D-39CE-C9D3-9D4BBA9B292D}"/>
                </a:ext>
              </a:extLst>
            </p:cNvPr>
            <p:cNvSpPr/>
            <p:nvPr/>
          </p:nvSpPr>
          <p:spPr>
            <a:xfrm>
              <a:off x="5055670" y="4495188"/>
              <a:ext cx="675508" cy="642716"/>
            </a:xfrm>
            <a:custGeom>
              <a:avLst/>
              <a:gdLst>
                <a:gd name="connsiteX0" fmla="*/ 489689 w 675508"/>
                <a:gd name="connsiteY0" fmla="*/ 0 h 642716"/>
                <a:gd name="connsiteX1" fmla="*/ 424106 w 675508"/>
                <a:gd name="connsiteY1" fmla="*/ 0 h 642716"/>
                <a:gd name="connsiteX2" fmla="*/ 334475 w 675508"/>
                <a:gd name="connsiteY2" fmla="*/ 48094 h 642716"/>
                <a:gd name="connsiteX3" fmla="*/ 247031 w 675508"/>
                <a:gd name="connsiteY3" fmla="*/ 0 h 642716"/>
                <a:gd name="connsiteX4" fmla="*/ 181447 w 675508"/>
                <a:gd name="connsiteY4" fmla="*/ 0 h 642716"/>
                <a:gd name="connsiteX5" fmla="*/ 0 w 675508"/>
                <a:gd name="connsiteY5" fmla="*/ 192378 h 642716"/>
                <a:gd name="connsiteX6" fmla="*/ 0 w 675508"/>
                <a:gd name="connsiteY6" fmla="*/ 640531 h 642716"/>
                <a:gd name="connsiteX7" fmla="*/ 135539 w 675508"/>
                <a:gd name="connsiteY7" fmla="*/ 640531 h 642716"/>
                <a:gd name="connsiteX8" fmla="*/ 135539 w 675508"/>
                <a:gd name="connsiteY8" fmla="*/ 177075 h 642716"/>
                <a:gd name="connsiteX9" fmla="*/ 139911 w 675508"/>
                <a:gd name="connsiteY9" fmla="*/ 155214 h 642716"/>
                <a:gd name="connsiteX10" fmla="*/ 155214 w 675508"/>
                <a:gd name="connsiteY10" fmla="*/ 150842 h 642716"/>
                <a:gd name="connsiteX11" fmla="*/ 249217 w 675508"/>
                <a:gd name="connsiteY11" fmla="*/ 150842 h 642716"/>
                <a:gd name="connsiteX12" fmla="*/ 264519 w 675508"/>
                <a:gd name="connsiteY12" fmla="*/ 155214 h 642716"/>
                <a:gd name="connsiteX13" fmla="*/ 268892 w 675508"/>
                <a:gd name="connsiteY13" fmla="*/ 179261 h 642716"/>
                <a:gd name="connsiteX14" fmla="*/ 268892 w 675508"/>
                <a:gd name="connsiteY14" fmla="*/ 642717 h 642716"/>
                <a:gd name="connsiteX15" fmla="*/ 268892 w 675508"/>
                <a:gd name="connsiteY15" fmla="*/ 642717 h 642716"/>
                <a:gd name="connsiteX16" fmla="*/ 406617 w 675508"/>
                <a:gd name="connsiteY16" fmla="*/ 642717 h 642716"/>
                <a:gd name="connsiteX17" fmla="*/ 406617 w 675508"/>
                <a:gd name="connsiteY17" fmla="*/ 179261 h 642716"/>
                <a:gd name="connsiteX18" fmla="*/ 410989 w 675508"/>
                <a:gd name="connsiteY18" fmla="*/ 155214 h 642716"/>
                <a:gd name="connsiteX19" fmla="*/ 426292 w 675508"/>
                <a:gd name="connsiteY19" fmla="*/ 150842 h 642716"/>
                <a:gd name="connsiteX20" fmla="*/ 520294 w 675508"/>
                <a:gd name="connsiteY20" fmla="*/ 150842 h 642716"/>
                <a:gd name="connsiteX21" fmla="*/ 535597 w 675508"/>
                <a:gd name="connsiteY21" fmla="*/ 155214 h 642716"/>
                <a:gd name="connsiteX22" fmla="*/ 539970 w 675508"/>
                <a:gd name="connsiteY22" fmla="*/ 177075 h 642716"/>
                <a:gd name="connsiteX23" fmla="*/ 539970 w 675508"/>
                <a:gd name="connsiteY23" fmla="*/ 640531 h 642716"/>
                <a:gd name="connsiteX24" fmla="*/ 675509 w 675508"/>
                <a:gd name="connsiteY24" fmla="*/ 640531 h 642716"/>
                <a:gd name="connsiteX25" fmla="*/ 675509 w 675508"/>
                <a:gd name="connsiteY25" fmla="*/ 192378 h 642716"/>
                <a:gd name="connsiteX26" fmla="*/ 489689 w 675508"/>
                <a:gd name="connsiteY26" fmla="*/ 0 h 642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5508" h="642716">
                  <a:moveTo>
                    <a:pt x="489689" y="0"/>
                  </a:moveTo>
                  <a:lnTo>
                    <a:pt x="424106" y="0"/>
                  </a:lnTo>
                  <a:cubicBezTo>
                    <a:pt x="369453" y="0"/>
                    <a:pt x="343220" y="32792"/>
                    <a:pt x="334475" y="48094"/>
                  </a:cubicBezTo>
                  <a:cubicBezTo>
                    <a:pt x="323544" y="30606"/>
                    <a:pt x="297311" y="0"/>
                    <a:pt x="247031" y="0"/>
                  </a:cubicBezTo>
                  <a:lnTo>
                    <a:pt x="181447" y="0"/>
                  </a:lnTo>
                  <a:cubicBezTo>
                    <a:pt x="43722" y="0"/>
                    <a:pt x="0" y="26233"/>
                    <a:pt x="0" y="192378"/>
                  </a:cubicBezTo>
                  <a:lnTo>
                    <a:pt x="0" y="640531"/>
                  </a:lnTo>
                  <a:lnTo>
                    <a:pt x="135539" y="640531"/>
                  </a:lnTo>
                  <a:lnTo>
                    <a:pt x="135539" y="177075"/>
                  </a:lnTo>
                  <a:cubicBezTo>
                    <a:pt x="135539" y="163958"/>
                    <a:pt x="135539" y="157400"/>
                    <a:pt x="139911" y="155214"/>
                  </a:cubicBezTo>
                  <a:cubicBezTo>
                    <a:pt x="142097" y="153028"/>
                    <a:pt x="148655" y="150842"/>
                    <a:pt x="155214" y="150842"/>
                  </a:cubicBezTo>
                  <a:lnTo>
                    <a:pt x="249217" y="150842"/>
                  </a:lnTo>
                  <a:cubicBezTo>
                    <a:pt x="255775" y="150842"/>
                    <a:pt x="260147" y="150842"/>
                    <a:pt x="264519" y="155214"/>
                  </a:cubicBezTo>
                  <a:cubicBezTo>
                    <a:pt x="268892" y="159586"/>
                    <a:pt x="268892" y="163958"/>
                    <a:pt x="268892" y="179261"/>
                  </a:cubicBezTo>
                  <a:lnTo>
                    <a:pt x="268892" y="642717"/>
                  </a:lnTo>
                  <a:lnTo>
                    <a:pt x="268892" y="642717"/>
                  </a:lnTo>
                  <a:lnTo>
                    <a:pt x="406617" y="642717"/>
                  </a:lnTo>
                  <a:lnTo>
                    <a:pt x="406617" y="179261"/>
                  </a:lnTo>
                  <a:cubicBezTo>
                    <a:pt x="406617" y="166144"/>
                    <a:pt x="406617" y="159586"/>
                    <a:pt x="410989" y="155214"/>
                  </a:cubicBezTo>
                  <a:cubicBezTo>
                    <a:pt x="413175" y="153028"/>
                    <a:pt x="419734" y="150842"/>
                    <a:pt x="426292" y="150842"/>
                  </a:cubicBezTo>
                  <a:lnTo>
                    <a:pt x="520294" y="150842"/>
                  </a:lnTo>
                  <a:cubicBezTo>
                    <a:pt x="526853" y="150842"/>
                    <a:pt x="533411" y="150842"/>
                    <a:pt x="535597" y="155214"/>
                  </a:cubicBezTo>
                  <a:cubicBezTo>
                    <a:pt x="539970" y="159586"/>
                    <a:pt x="539970" y="163958"/>
                    <a:pt x="539970" y="177075"/>
                  </a:cubicBezTo>
                  <a:lnTo>
                    <a:pt x="539970" y="640531"/>
                  </a:lnTo>
                  <a:lnTo>
                    <a:pt x="675509" y="640531"/>
                  </a:lnTo>
                  <a:lnTo>
                    <a:pt x="675509" y="192378"/>
                  </a:lnTo>
                  <a:cubicBezTo>
                    <a:pt x="671136" y="26233"/>
                    <a:pt x="627414" y="0"/>
                    <a:pt x="489689" y="0"/>
                  </a:cubicBezTo>
                  <a:close/>
                </a:path>
              </a:pathLst>
            </a:custGeom>
            <a:grpFill/>
            <a:ln w="21819" cap="flat">
              <a:noFill/>
              <a:prstDash val="solid"/>
              <a:miter/>
            </a:ln>
          </p:spPr>
          <p:txBody>
            <a:bodyPr rtlCol="0" anchor="ctr"/>
            <a:lstStyle/>
            <a:p>
              <a:endParaRPr lang="de-DE"/>
            </a:p>
          </p:txBody>
        </p:sp>
      </p:grpSp>
      <p:sp>
        <p:nvSpPr>
          <p:cNvPr id="34" name="Bildplatzhalter 22">
            <a:extLst>
              <a:ext uri="{FF2B5EF4-FFF2-40B4-BE49-F238E27FC236}">
                <a16:creationId xmlns:a16="http://schemas.microsoft.com/office/drawing/2014/main" id="{073A642A-CED5-078E-30E4-9A81124F0343}"/>
              </a:ext>
            </a:extLst>
          </p:cNvPr>
          <p:cNvSpPr>
            <a:spLocks noGrp="1"/>
          </p:cNvSpPr>
          <p:nvPr>
            <p:ph type="pic" sz="quarter" idx="14"/>
          </p:nvPr>
        </p:nvSpPr>
        <p:spPr>
          <a:xfrm>
            <a:off x="6096000" y="0"/>
            <a:ext cx="6096000" cy="6858000"/>
          </a:xfrm>
          <a:solidFill>
            <a:schemeClr val="tx1"/>
          </a:solidFill>
        </p:spPr>
        <p:txBody>
          <a:bodyPr/>
          <a:lstStyle>
            <a:lvl1pPr>
              <a:defRPr>
                <a:solidFill>
                  <a:schemeClr val="bg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3357289583"/>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ext dunkel+Bild rechts 2/3">
    <p:bg>
      <p:bgPr>
        <a:solidFill>
          <a:schemeClr val="tx1"/>
        </a:solidFill>
        <a:effectLst/>
      </p:bgPr>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977EB5B-8228-C601-1176-E715BE9D4B28}"/>
              </a:ext>
            </a:extLst>
          </p:cNvPr>
          <p:cNvGraphicFramePr>
            <a:graphicFrameLocks noChangeAspect="1"/>
          </p:cNvGraphicFramePr>
          <p:nvPr userDrawn="1">
            <p:custDataLst>
              <p:tags r:id="rId2"/>
            </p:custDataLst>
            <p:extLst>
              <p:ext uri="{D42A27DB-BD31-4B8C-83A1-F6EECF244321}">
                <p14:modId xmlns:p14="http://schemas.microsoft.com/office/powerpoint/2010/main" val="800007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8" name="think-cell Folie" r:id="rId4" imgW="592" imgH="591" progId="TCLayout.ActiveDocument.1">
                  <p:embed/>
                </p:oleObj>
              </mc:Choice>
              <mc:Fallback>
                <p:oleObj name="think-cell Folie" r:id="rId4" imgW="592" imgH="591" progId="TCLayout.ActiveDocument.1">
                  <p:embed/>
                  <p:pic>
                    <p:nvPicPr>
                      <p:cNvPr id="11" name="think-cell data - do not delete" hidden="1">
                        <a:extLst>
                          <a:ext uri="{FF2B5EF4-FFF2-40B4-BE49-F238E27FC236}">
                            <a16:creationId xmlns:a16="http://schemas.microsoft.com/office/drawing/2014/main" id="{4977EB5B-8228-C601-1176-E715BE9D4B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F3D29DB-C29F-7E03-7D11-D8E722D7D825}"/>
              </a:ext>
            </a:extLst>
          </p:cNvPr>
          <p:cNvSpPr>
            <a:spLocks noGrp="1"/>
          </p:cNvSpPr>
          <p:nvPr>
            <p:ph type="title"/>
          </p:nvPr>
        </p:nvSpPr>
        <p:spPr>
          <a:xfrm>
            <a:off x="407991" y="404813"/>
            <a:ext cx="3298134" cy="830997"/>
          </a:xfrm>
        </p:spPr>
        <p:txBody>
          <a:bodyPr vert="horz"/>
          <a:lstStyle>
            <a:lvl1pPr>
              <a:defRPr>
                <a:solidFill>
                  <a:schemeClr val="bg1"/>
                </a:solidFill>
              </a:defRPr>
            </a:lvl1pPr>
          </a:lstStyle>
          <a:p>
            <a:r>
              <a:rPr lang="de-DE"/>
              <a:t>Mastertitelformat bearbeiten</a:t>
            </a:r>
            <a:endParaRPr lang="en-US" dirty="0"/>
          </a:p>
        </p:txBody>
      </p:sp>
      <p:sp>
        <p:nvSpPr>
          <p:cNvPr id="3" name="Inhaltsplatzhalter 2">
            <a:extLst>
              <a:ext uri="{FF2B5EF4-FFF2-40B4-BE49-F238E27FC236}">
                <a16:creationId xmlns:a16="http://schemas.microsoft.com/office/drawing/2014/main" id="{A50FCC40-B9BD-CC74-817B-4FE8B7ABC4EC}"/>
              </a:ext>
            </a:extLst>
          </p:cNvPr>
          <p:cNvSpPr>
            <a:spLocks noGrp="1"/>
          </p:cNvSpPr>
          <p:nvPr>
            <p:ph idx="1"/>
          </p:nvPr>
        </p:nvSpPr>
        <p:spPr>
          <a:xfrm>
            <a:off x="407991" y="2060847"/>
            <a:ext cx="3298134" cy="411611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Bildplatzhalter 22">
            <a:extLst>
              <a:ext uri="{FF2B5EF4-FFF2-40B4-BE49-F238E27FC236}">
                <a16:creationId xmlns:a16="http://schemas.microsoft.com/office/drawing/2014/main" id="{0CCE803F-76E1-51EF-2D37-8BB55EF492E6}"/>
              </a:ext>
            </a:extLst>
          </p:cNvPr>
          <p:cNvSpPr>
            <a:spLocks noGrp="1"/>
          </p:cNvSpPr>
          <p:nvPr>
            <p:ph type="pic" sz="quarter" idx="14"/>
          </p:nvPr>
        </p:nvSpPr>
        <p:spPr>
          <a:xfrm>
            <a:off x="4066125" y="0"/>
            <a:ext cx="8125875" cy="6858000"/>
          </a:xfrm>
          <a:solidFill>
            <a:schemeClr val="tx1"/>
          </a:solidFill>
        </p:spPr>
        <p:txBody>
          <a:bodyPr/>
          <a:lstStyle>
            <a:lvl1pPr>
              <a:defRPr>
                <a:solidFill>
                  <a:schemeClr val="bg1"/>
                </a:solidFill>
              </a:defRPr>
            </a:lvl1pPr>
          </a:lstStyle>
          <a:p>
            <a:r>
              <a:rPr lang="de-DE"/>
              <a:t>Bild durch Klicken auf Symbol hinzufügen</a:t>
            </a:r>
          </a:p>
        </p:txBody>
      </p:sp>
      <p:grpSp>
        <p:nvGrpSpPr>
          <p:cNvPr id="6" name="Grafik 23">
            <a:extLst>
              <a:ext uri="{FF2B5EF4-FFF2-40B4-BE49-F238E27FC236}">
                <a16:creationId xmlns:a16="http://schemas.microsoft.com/office/drawing/2014/main" id="{E12EA9DF-0503-8AB7-98BD-A22FECBF6EF1}"/>
              </a:ext>
            </a:extLst>
          </p:cNvPr>
          <p:cNvGrpSpPr>
            <a:grpSpLocks noChangeAspect="1"/>
          </p:cNvGrpSpPr>
          <p:nvPr userDrawn="1"/>
        </p:nvGrpSpPr>
        <p:grpSpPr>
          <a:xfrm>
            <a:off x="407989" y="6453187"/>
            <a:ext cx="918000" cy="158572"/>
            <a:chOff x="3042261" y="4495188"/>
            <a:chExt cx="3720761" cy="642716"/>
          </a:xfrm>
          <a:solidFill>
            <a:schemeClr val="bg1"/>
          </a:solidFill>
        </p:grpSpPr>
        <p:sp>
          <p:nvSpPr>
            <p:cNvPr id="10" name="Freihandform: Form 9">
              <a:extLst>
                <a:ext uri="{FF2B5EF4-FFF2-40B4-BE49-F238E27FC236}">
                  <a16:creationId xmlns:a16="http://schemas.microsoft.com/office/drawing/2014/main" id="{F96E6D4A-14FA-8D5A-C3C3-71629B9D7262}"/>
                </a:ext>
              </a:extLst>
            </p:cNvPr>
            <p:cNvSpPr/>
            <p:nvPr/>
          </p:nvSpPr>
          <p:spPr>
            <a:xfrm>
              <a:off x="3042261" y="4495188"/>
              <a:ext cx="450339" cy="638344"/>
            </a:xfrm>
            <a:custGeom>
              <a:avLst/>
              <a:gdLst>
                <a:gd name="connsiteX0" fmla="*/ 262333 w 450339"/>
                <a:gd name="connsiteY0" fmla="*/ 638345 h 638344"/>
                <a:gd name="connsiteX1" fmla="*/ 251403 w 450339"/>
                <a:gd name="connsiteY1" fmla="*/ 638345 h 638344"/>
                <a:gd name="connsiteX2" fmla="*/ 0 w 450339"/>
                <a:gd name="connsiteY2" fmla="*/ 638345 h 638344"/>
                <a:gd name="connsiteX3" fmla="*/ 0 w 450339"/>
                <a:gd name="connsiteY3" fmla="*/ 0 h 638344"/>
                <a:gd name="connsiteX4" fmla="*/ 266706 w 450339"/>
                <a:gd name="connsiteY4" fmla="*/ 0 h 638344"/>
                <a:gd name="connsiteX5" fmla="*/ 450339 w 450339"/>
                <a:gd name="connsiteY5" fmla="*/ 192378 h 638344"/>
                <a:gd name="connsiteX6" fmla="*/ 450339 w 450339"/>
                <a:gd name="connsiteY6" fmla="*/ 452525 h 638344"/>
                <a:gd name="connsiteX7" fmla="*/ 393500 w 450339"/>
                <a:gd name="connsiteY7" fmla="*/ 598995 h 638344"/>
                <a:gd name="connsiteX8" fmla="*/ 262333 w 450339"/>
                <a:gd name="connsiteY8" fmla="*/ 638345 h 638344"/>
                <a:gd name="connsiteX9" fmla="*/ 137725 w 450339"/>
                <a:gd name="connsiteY9" fmla="*/ 500620 h 638344"/>
                <a:gd name="connsiteX10" fmla="*/ 257961 w 450339"/>
                <a:gd name="connsiteY10" fmla="*/ 500620 h 638344"/>
                <a:gd name="connsiteX11" fmla="*/ 319172 w 450339"/>
                <a:gd name="connsiteY11" fmla="*/ 445967 h 638344"/>
                <a:gd name="connsiteX12" fmla="*/ 319172 w 450339"/>
                <a:gd name="connsiteY12" fmla="*/ 196750 h 638344"/>
                <a:gd name="connsiteX13" fmla="*/ 255775 w 450339"/>
                <a:gd name="connsiteY13" fmla="*/ 135539 h 638344"/>
                <a:gd name="connsiteX14" fmla="*/ 135539 w 450339"/>
                <a:gd name="connsiteY14" fmla="*/ 135539 h 638344"/>
                <a:gd name="connsiteX15" fmla="*/ 135539 w 450339"/>
                <a:gd name="connsiteY15" fmla="*/ 500620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339" h="638344">
                  <a:moveTo>
                    <a:pt x="262333" y="638345"/>
                  </a:moveTo>
                  <a:cubicBezTo>
                    <a:pt x="257961" y="638345"/>
                    <a:pt x="255775" y="638345"/>
                    <a:pt x="251403" y="638345"/>
                  </a:cubicBezTo>
                  <a:lnTo>
                    <a:pt x="0" y="638345"/>
                  </a:lnTo>
                  <a:lnTo>
                    <a:pt x="0" y="0"/>
                  </a:lnTo>
                  <a:lnTo>
                    <a:pt x="266706" y="0"/>
                  </a:lnTo>
                  <a:cubicBezTo>
                    <a:pt x="391314" y="0"/>
                    <a:pt x="450339" y="61211"/>
                    <a:pt x="450339" y="192378"/>
                  </a:cubicBezTo>
                  <a:lnTo>
                    <a:pt x="450339" y="452525"/>
                  </a:lnTo>
                  <a:cubicBezTo>
                    <a:pt x="450339" y="518108"/>
                    <a:pt x="430664" y="566203"/>
                    <a:pt x="393500" y="598995"/>
                  </a:cubicBezTo>
                  <a:cubicBezTo>
                    <a:pt x="362895" y="625228"/>
                    <a:pt x="319172" y="638345"/>
                    <a:pt x="262333" y="638345"/>
                  </a:cubicBezTo>
                  <a:close/>
                  <a:moveTo>
                    <a:pt x="137725" y="500620"/>
                  </a:moveTo>
                  <a:lnTo>
                    <a:pt x="257961" y="500620"/>
                  </a:lnTo>
                  <a:cubicBezTo>
                    <a:pt x="288567" y="500620"/>
                    <a:pt x="314800" y="478758"/>
                    <a:pt x="319172" y="445967"/>
                  </a:cubicBezTo>
                  <a:lnTo>
                    <a:pt x="319172" y="196750"/>
                  </a:lnTo>
                  <a:cubicBezTo>
                    <a:pt x="319172" y="163958"/>
                    <a:pt x="290753" y="135539"/>
                    <a:pt x="255775" y="135539"/>
                  </a:cubicBezTo>
                  <a:lnTo>
                    <a:pt x="135539" y="135539"/>
                  </a:lnTo>
                  <a:lnTo>
                    <a:pt x="135539" y="500620"/>
                  </a:lnTo>
                  <a:close/>
                </a:path>
              </a:pathLst>
            </a:custGeom>
            <a:grpFill/>
            <a:ln w="21819"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66E460CC-F1A0-35EE-BAB5-DBE00E25E3BF}"/>
                </a:ext>
              </a:extLst>
            </p:cNvPr>
            <p:cNvSpPr/>
            <p:nvPr/>
          </p:nvSpPr>
          <p:spPr>
            <a:xfrm>
              <a:off x="3612836" y="4495188"/>
              <a:ext cx="461269" cy="638344"/>
            </a:xfrm>
            <a:custGeom>
              <a:avLst/>
              <a:gdLst>
                <a:gd name="connsiteX0" fmla="*/ 461269 w 461269"/>
                <a:gd name="connsiteY0" fmla="*/ 638345 h 638344"/>
                <a:gd name="connsiteX1" fmla="*/ 323544 w 461269"/>
                <a:gd name="connsiteY1" fmla="*/ 638345 h 638344"/>
                <a:gd name="connsiteX2" fmla="*/ 323544 w 461269"/>
                <a:gd name="connsiteY2" fmla="*/ 487503 h 638344"/>
                <a:gd name="connsiteX3" fmla="*/ 137725 w 461269"/>
                <a:gd name="connsiteY3" fmla="*/ 487503 h 638344"/>
                <a:gd name="connsiteX4" fmla="*/ 137725 w 461269"/>
                <a:gd name="connsiteY4" fmla="*/ 638345 h 638344"/>
                <a:gd name="connsiteX5" fmla="*/ 0 w 461269"/>
                <a:gd name="connsiteY5" fmla="*/ 638345 h 638344"/>
                <a:gd name="connsiteX6" fmla="*/ 0 w 461269"/>
                <a:gd name="connsiteY6" fmla="*/ 188006 h 638344"/>
                <a:gd name="connsiteX7" fmla="*/ 190192 w 461269"/>
                <a:gd name="connsiteY7" fmla="*/ 0 h 638344"/>
                <a:gd name="connsiteX8" fmla="*/ 268892 w 461269"/>
                <a:gd name="connsiteY8" fmla="*/ 0 h 638344"/>
                <a:gd name="connsiteX9" fmla="*/ 461269 w 461269"/>
                <a:gd name="connsiteY9" fmla="*/ 192378 h 638344"/>
                <a:gd name="connsiteX10" fmla="*/ 461269 w 461269"/>
                <a:gd name="connsiteY10" fmla="*/ 638345 h 638344"/>
                <a:gd name="connsiteX11" fmla="*/ 137725 w 461269"/>
                <a:gd name="connsiteY11" fmla="*/ 351964 h 638344"/>
                <a:gd name="connsiteX12" fmla="*/ 323544 w 461269"/>
                <a:gd name="connsiteY12" fmla="*/ 351964 h 638344"/>
                <a:gd name="connsiteX13" fmla="*/ 323544 w 461269"/>
                <a:gd name="connsiteY13" fmla="*/ 201122 h 638344"/>
                <a:gd name="connsiteX14" fmla="*/ 262333 w 461269"/>
                <a:gd name="connsiteY14" fmla="*/ 135539 h 638344"/>
                <a:gd name="connsiteX15" fmla="*/ 198936 w 461269"/>
                <a:gd name="connsiteY15" fmla="*/ 135539 h 638344"/>
                <a:gd name="connsiteX16" fmla="*/ 137725 w 461269"/>
                <a:gd name="connsiteY16" fmla="*/ 194564 h 638344"/>
                <a:gd name="connsiteX17" fmla="*/ 137725 w 461269"/>
                <a:gd name="connsiteY17" fmla="*/ 351964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61269" h="638344">
                  <a:moveTo>
                    <a:pt x="461269" y="638345"/>
                  </a:moveTo>
                  <a:lnTo>
                    <a:pt x="323544" y="638345"/>
                  </a:lnTo>
                  <a:lnTo>
                    <a:pt x="323544" y="487503"/>
                  </a:lnTo>
                  <a:lnTo>
                    <a:pt x="137725" y="487503"/>
                  </a:lnTo>
                  <a:lnTo>
                    <a:pt x="137725" y="638345"/>
                  </a:lnTo>
                  <a:lnTo>
                    <a:pt x="0" y="638345"/>
                  </a:lnTo>
                  <a:lnTo>
                    <a:pt x="0" y="188006"/>
                  </a:lnTo>
                  <a:cubicBezTo>
                    <a:pt x="0" y="61211"/>
                    <a:pt x="63397" y="0"/>
                    <a:pt x="190192" y="0"/>
                  </a:cubicBezTo>
                  <a:lnTo>
                    <a:pt x="268892" y="0"/>
                  </a:lnTo>
                  <a:cubicBezTo>
                    <a:pt x="397872" y="0"/>
                    <a:pt x="461269" y="63397"/>
                    <a:pt x="461269" y="192378"/>
                  </a:cubicBezTo>
                  <a:lnTo>
                    <a:pt x="461269" y="638345"/>
                  </a:lnTo>
                  <a:close/>
                  <a:moveTo>
                    <a:pt x="137725" y="351964"/>
                  </a:moveTo>
                  <a:lnTo>
                    <a:pt x="323544" y="351964"/>
                  </a:lnTo>
                  <a:lnTo>
                    <a:pt x="323544" y="201122"/>
                  </a:lnTo>
                  <a:cubicBezTo>
                    <a:pt x="323544" y="163958"/>
                    <a:pt x="295125" y="135539"/>
                    <a:pt x="262333" y="135539"/>
                  </a:cubicBezTo>
                  <a:lnTo>
                    <a:pt x="198936" y="135539"/>
                  </a:lnTo>
                  <a:cubicBezTo>
                    <a:pt x="163958" y="135539"/>
                    <a:pt x="137725" y="161772"/>
                    <a:pt x="137725" y="194564"/>
                  </a:cubicBezTo>
                  <a:lnTo>
                    <a:pt x="137725" y="351964"/>
                  </a:lnTo>
                  <a:close/>
                </a:path>
              </a:pathLst>
            </a:custGeom>
            <a:grpFill/>
            <a:ln w="21819" cap="flat">
              <a:noFill/>
              <a:prstDash val="solid"/>
              <a:miter/>
            </a:ln>
          </p:spPr>
          <p:txBody>
            <a:bodyPr rtlCol="0" anchor="ctr"/>
            <a:lstStyle/>
            <a:p>
              <a:endParaRPr lang="de-DE"/>
            </a:p>
          </p:txBody>
        </p:sp>
        <p:sp>
          <p:nvSpPr>
            <p:cNvPr id="13" name="Freihandform: Form 12">
              <a:extLst>
                <a:ext uri="{FF2B5EF4-FFF2-40B4-BE49-F238E27FC236}">
                  <a16:creationId xmlns:a16="http://schemas.microsoft.com/office/drawing/2014/main" id="{671305F5-0F89-01E0-A05C-86EC8B4F7981}"/>
                </a:ext>
              </a:extLst>
            </p:cNvPr>
            <p:cNvSpPr/>
            <p:nvPr/>
          </p:nvSpPr>
          <p:spPr>
            <a:xfrm>
              <a:off x="4205272" y="4495188"/>
              <a:ext cx="327916" cy="638344"/>
            </a:xfrm>
            <a:custGeom>
              <a:avLst/>
              <a:gdLst>
                <a:gd name="connsiteX0" fmla="*/ 327917 w 327916"/>
                <a:gd name="connsiteY0" fmla="*/ 638345 h 638344"/>
                <a:gd name="connsiteX1" fmla="*/ 0 w 327916"/>
                <a:gd name="connsiteY1" fmla="*/ 638345 h 638344"/>
                <a:gd name="connsiteX2" fmla="*/ 0 w 327916"/>
                <a:gd name="connsiteY2" fmla="*/ 0 h 638344"/>
                <a:gd name="connsiteX3" fmla="*/ 137725 w 327916"/>
                <a:gd name="connsiteY3" fmla="*/ 0 h 638344"/>
                <a:gd name="connsiteX4" fmla="*/ 137725 w 327916"/>
                <a:gd name="connsiteY4" fmla="*/ 500620 h 638344"/>
                <a:gd name="connsiteX5" fmla="*/ 327917 w 327916"/>
                <a:gd name="connsiteY5" fmla="*/ 500620 h 638344"/>
                <a:gd name="connsiteX6" fmla="*/ 327917 w 327916"/>
                <a:gd name="connsiteY6" fmla="*/ 638345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916" h="638344">
                  <a:moveTo>
                    <a:pt x="327917" y="638345"/>
                  </a:moveTo>
                  <a:lnTo>
                    <a:pt x="0" y="638345"/>
                  </a:lnTo>
                  <a:lnTo>
                    <a:pt x="0" y="0"/>
                  </a:lnTo>
                  <a:lnTo>
                    <a:pt x="137725" y="0"/>
                  </a:lnTo>
                  <a:lnTo>
                    <a:pt x="137725" y="500620"/>
                  </a:lnTo>
                  <a:lnTo>
                    <a:pt x="327917" y="500620"/>
                  </a:lnTo>
                  <a:lnTo>
                    <a:pt x="327917" y="638345"/>
                  </a:lnTo>
                  <a:close/>
                </a:path>
              </a:pathLst>
            </a:custGeom>
            <a:grpFill/>
            <a:ln w="21819" cap="flat">
              <a:noFill/>
              <a:prstDash val="solid"/>
              <a:miter/>
            </a:ln>
          </p:spPr>
          <p:txBody>
            <a:bodyPr rtlCol="0" anchor="ctr"/>
            <a:lstStyle/>
            <a:p>
              <a:endParaRPr lang="de-DE"/>
            </a:p>
          </p:txBody>
        </p:sp>
        <p:sp>
          <p:nvSpPr>
            <p:cNvPr id="14" name="Freihandform: Form 13">
              <a:extLst>
                <a:ext uri="{FF2B5EF4-FFF2-40B4-BE49-F238E27FC236}">
                  <a16:creationId xmlns:a16="http://schemas.microsoft.com/office/drawing/2014/main" id="{3AC58308-E0F7-4BE9-3497-9AAC2CB0AF37}"/>
                </a:ext>
              </a:extLst>
            </p:cNvPr>
            <p:cNvSpPr/>
            <p:nvPr/>
          </p:nvSpPr>
          <p:spPr>
            <a:xfrm>
              <a:off x="4627192" y="4495188"/>
              <a:ext cx="327916" cy="638344"/>
            </a:xfrm>
            <a:custGeom>
              <a:avLst/>
              <a:gdLst>
                <a:gd name="connsiteX0" fmla="*/ 325730 w 327916"/>
                <a:gd name="connsiteY0" fmla="*/ 638345 h 638344"/>
                <a:gd name="connsiteX1" fmla="*/ 0 w 327916"/>
                <a:gd name="connsiteY1" fmla="*/ 638345 h 638344"/>
                <a:gd name="connsiteX2" fmla="*/ 0 w 327916"/>
                <a:gd name="connsiteY2" fmla="*/ 0 h 638344"/>
                <a:gd name="connsiteX3" fmla="*/ 137725 w 327916"/>
                <a:gd name="connsiteY3" fmla="*/ 0 h 638344"/>
                <a:gd name="connsiteX4" fmla="*/ 137725 w 327916"/>
                <a:gd name="connsiteY4" fmla="*/ 500620 h 638344"/>
                <a:gd name="connsiteX5" fmla="*/ 327917 w 327916"/>
                <a:gd name="connsiteY5" fmla="*/ 500620 h 638344"/>
                <a:gd name="connsiteX6" fmla="*/ 327917 w 327916"/>
                <a:gd name="connsiteY6" fmla="*/ 638345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916" h="638344">
                  <a:moveTo>
                    <a:pt x="325730" y="638345"/>
                  </a:moveTo>
                  <a:lnTo>
                    <a:pt x="0" y="638345"/>
                  </a:lnTo>
                  <a:lnTo>
                    <a:pt x="0" y="0"/>
                  </a:lnTo>
                  <a:lnTo>
                    <a:pt x="137725" y="0"/>
                  </a:lnTo>
                  <a:lnTo>
                    <a:pt x="137725" y="500620"/>
                  </a:lnTo>
                  <a:lnTo>
                    <a:pt x="327917" y="500620"/>
                  </a:lnTo>
                  <a:lnTo>
                    <a:pt x="327917" y="638345"/>
                  </a:lnTo>
                  <a:close/>
                </a:path>
              </a:pathLst>
            </a:custGeom>
            <a:grpFill/>
            <a:ln w="21819" cap="flat">
              <a:noFill/>
              <a:prstDash val="solid"/>
              <a:miter/>
            </a:ln>
          </p:spPr>
          <p:txBody>
            <a:bodyPr rtlCol="0" anchor="ctr"/>
            <a:lstStyle/>
            <a:p>
              <a:endParaRPr lang="de-DE"/>
            </a:p>
          </p:txBody>
        </p:sp>
        <p:sp>
          <p:nvSpPr>
            <p:cNvPr id="15" name="Freihandform: Form 14">
              <a:extLst>
                <a:ext uri="{FF2B5EF4-FFF2-40B4-BE49-F238E27FC236}">
                  <a16:creationId xmlns:a16="http://schemas.microsoft.com/office/drawing/2014/main" id="{375EC271-D26D-FCD0-D79F-D828597F1886}"/>
                </a:ext>
              </a:extLst>
            </p:cNvPr>
            <p:cNvSpPr/>
            <p:nvPr/>
          </p:nvSpPr>
          <p:spPr>
            <a:xfrm>
              <a:off x="5849228" y="4495188"/>
              <a:ext cx="349777" cy="638344"/>
            </a:xfrm>
            <a:custGeom>
              <a:avLst/>
              <a:gdLst>
                <a:gd name="connsiteX0" fmla="*/ 349778 w 349777"/>
                <a:gd name="connsiteY0" fmla="*/ 638345 h 638344"/>
                <a:gd name="connsiteX1" fmla="*/ 0 w 349777"/>
                <a:gd name="connsiteY1" fmla="*/ 638345 h 638344"/>
                <a:gd name="connsiteX2" fmla="*/ 0 w 349777"/>
                <a:gd name="connsiteY2" fmla="*/ 0 h 638344"/>
                <a:gd name="connsiteX3" fmla="*/ 349778 w 349777"/>
                <a:gd name="connsiteY3" fmla="*/ 0 h 638344"/>
                <a:gd name="connsiteX4" fmla="*/ 349778 w 349777"/>
                <a:gd name="connsiteY4" fmla="*/ 137725 h 638344"/>
                <a:gd name="connsiteX5" fmla="*/ 137725 w 349777"/>
                <a:gd name="connsiteY5" fmla="*/ 137725 h 638344"/>
                <a:gd name="connsiteX6" fmla="*/ 137725 w 349777"/>
                <a:gd name="connsiteY6" fmla="*/ 251403 h 638344"/>
                <a:gd name="connsiteX7" fmla="*/ 349778 w 349777"/>
                <a:gd name="connsiteY7" fmla="*/ 251403 h 638344"/>
                <a:gd name="connsiteX8" fmla="*/ 349778 w 349777"/>
                <a:gd name="connsiteY8" fmla="*/ 389128 h 638344"/>
                <a:gd name="connsiteX9" fmla="*/ 137725 w 349777"/>
                <a:gd name="connsiteY9" fmla="*/ 389128 h 638344"/>
                <a:gd name="connsiteX10" fmla="*/ 137725 w 349777"/>
                <a:gd name="connsiteY10" fmla="*/ 500620 h 638344"/>
                <a:gd name="connsiteX11" fmla="*/ 349778 w 349777"/>
                <a:gd name="connsiteY11" fmla="*/ 500620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9777" h="638344">
                  <a:moveTo>
                    <a:pt x="349778" y="638345"/>
                  </a:moveTo>
                  <a:lnTo>
                    <a:pt x="0" y="638345"/>
                  </a:lnTo>
                  <a:lnTo>
                    <a:pt x="0" y="0"/>
                  </a:lnTo>
                  <a:lnTo>
                    <a:pt x="349778" y="0"/>
                  </a:lnTo>
                  <a:lnTo>
                    <a:pt x="349778" y="137725"/>
                  </a:lnTo>
                  <a:lnTo>
                    <a:pt x="137725" y="137725"/>
                  </a:lnTo>
                  <a:lnTo>
                    <a:pt x="137725" y="251403"/>
                  </a:lnTo>
                  <a:lnTo>
                    <a:pt x="349778" y="251403"/>
                  </a:lnTo>
                  <a:lnTo>
                    <a:pt x="349778" y="389128"/>
                  </a:lnTo>
                  <a:lnTo>
                    <a:pt x="137725" y="389128"/>
                  </a:lnTo>
                  <a:lnTo>
                    <a:pt x="137725" y="500620"/>
                  </a:lnTo>
                  <a:lnTo>
                    <a:pt x="349778" y="500620"/>
                  </a:lnTo>
                  <a:close/>
                </a:path>
              </a:pathLst>
            </a:custGeom>
            <a:grpFill/>
            <a:ln w="21819" cap="flat">
              <a:noFill/>
              <a:prstDash val="solid"/>
              <a:miter/>
            </a:ln>
          </p:spPr>
          <p:txBody>
            <a:bodyPr rtlCol="0" anchor="ctr"/>
            <a:lstStyle/>
            <a:p>
              <a:endParaRPr lang="de-DE"/>
            </a:p>
          </p:txBody>
        </p:sp>
        <p:sp>
          <p:nvSpPr>
            <p:cNvPr id="16" name="Freihandform: Form 15">
              <a:extLst>
                <a:ext uri="{FF2B5EF4-FFF2-40B4-BE49-F238E27FC236}">
                  <a16:creationId xmlns:a16="http://schemas.microsoft.com/office/drawing/2014/main" id="{AD0D19EF-8975-77DF-7769-749845325C49}"/>
                </a:ext>
              </a:extLst>
            </p:cNvPr>
            <p:cNvSpPr/>
            <p:nvPr/>
          </p:nvSpPr>
          <p:spPr>
            <a:xfrm>
              <a:off x="6321428" y="4495188"/>
              <a:ext cx="441594" cy="638344"/>
            </a:xfrm>
            <a:custGeom>
              <a:avLst/>
              <a:gdLst>
                <a:gd name="connsiteX0" fmla="*/ 439408 w 441594"/>
                <a:gd name="connsiteY0" fmla="*/ 450339 h 638344"/>
                <a:gd name="connsiteX1" fmla="*/ 391314 w 441594"/>
                <a:gd name="connsiteY1" fmla="*/ 360708 h 638344"/>
                <a:gd name="connsiteX2" fmla="*/ 439408 w 441594"/>
                <a:gd name="connsiteY2" fmla="*/ 273264 h 638344"/>
                <a:gd name="connsiteX3" fmla="*/ 439408 w 441594"/>
                <a:gd name="connsiteY3" fmla="*/ 179261 h 638344"/>
                <a:gd name="connsiteX4" fmla="*/ 266706 w 441594"/>
                <a:gd name="connsiteY4" fmla="*/ 0 h 638344"/>
                <a:gd name="connsiteX5" fmla="*/ 0 w 441594"/>
                <a:gd name="connsiteY5" fmla="*/ 0 h 638344"/>
                <a:gd name="connsiteX6" fmla="*/ 0 w 441594"/>
                <a:gd name="connsiteY6" fmla="*/ 638345 h 638344"/>
                <a:gd name="connsiteX7" fmla="*/ 137725 w 441594"/>
                <a:gd name="connsiteY7" fmla="*/ 638345 h 638344"/>
                <a:gd name="connsiteX8" fmla="*/ 137725 w 441594"/>
                <a:gd name="connsiteY8" fmla="*/ 435036 h 638344"/>
                <a:gd name="connsiteX9" fmla="*/ 251403 w 441594"/>
                <a:gd name="connsiteY9" fmla="*/ 435036 h 638344"/>
                <a:gd name="connsiteX10" fmla="*/ 314800 w 441594"/>
                <a:gd name="connsiteY10" fmla="*/ 500620 h 638344"/>
                <a:gd name="connsiteX11" fmla="*/ 314800 w 441594"/>
                <a:gd name="connsiteY11" fmla="*/ 638345 h 638344"/>
                <a:gd name="connsiteX12" fmla="*/ 441594 w 441594"/>
                <a:gd name="connsiteY12" fmla="*/ 638345 h 638344"/>
                <a:gd name="connsiteX13" fmla="*/ 439408 w 441594"/>
                <a:gd name="connsiteY13" fmla="*/ 450339 h 638344"/>
                <a:gd name="connsiteX14" fmla="*/ 312614 w 441594"/>
                <a:gd name="connsiteY14" fmla="*/ 244844 h 638344"/>
                <a:gd name="connsiteX15" fmla="*/ 251403 w 441594"/>
                <a:gd name="connsiteY15" fmla="*/ 306056 h 638344"/>
                <a:gd name="connsiteX16" fmla="*/ 137725 w 441594"/>
                <a:gd name="connsiteY16" fmla="*/ 306056 h 638344"/>
                <a:gd name="connsiteX17" fmla="*/ 137725 w 441594"/>
                <a:gd name="connsiteY17" fmla="*/ 135539 h 638344"/>
                <a:gd name="connsiteX18" fmla="*/ 251403 w 441594"/>
                <a:gd name="connsiteY18" fmla="*/ 135539 h 638344"/>
                <a:gd name="connsiteX19" fmla="*/ 314800 w 441594"/>
                <a:gd name="connsiteY19" fmla="*/ 196750 h 638344"/>
                <a:gd name="connsiteX20" fmla="*/ 314800 w 441594"/>
                <a:gd name="connsiteY20" fmla="*/ 244844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41594" h="638344">
                  <a:moveTo>
                    <a:pt x="439408" y="450339"/>
                  </a:moveTo>
                  <a:cubicBezTo>
                    <a:pt x="439408" y="395686"/>
                    <a:pt x="406617" y="369453"/>
                    <a:pt x="391314" y="360708"/>
                  </a:cubicBezTo>
                  <a:cubicBezTo>
                    <a:pt x="408803" y="349778"/>
                    <a:pt x="439408" y="323545"/>
                    <a:pt x="439408" y="273264"/>
                  </a:cubicBezTo>
                  <a:cubicBezTo>
                    <a:pt x="439408" y="238286"/>
                    <a:pt x="439408" y="179261"/>
                    <a:pt x="439408" y="179261"/>
                  </a:cubicBezTo>
                  <a:cubicBezTo>
                    <a:pt x="439408" y="26233"/>
                    <a:pt x="384755" y="0"/>
                    <a:pt x="266706" y="0"/>
                  </a:cubicBezTo>
                  <a:lnTo>
                    <a:pt x="0" y="0"/>
                  </a:lnTo>
                  <a:lnTo>
                    <a:pt x="0" y="638345"/>
                  </a:lnTo>
                  <a:lnTo>
                    <a:pt x="137725" y="638345"/>
                  </a:lnTo>
                  <a:lnTo>
                    <a:pt x="137725" y="435036"/>
                  </a:lnTo>
                  <a:lnTo>
                    <a:pt x="251403" y="435036"/>
                  </a:lnTo>
                  <a:cubicBezTo>
                    <a:pt x="301683" y="435036"/>
                    <a:pt x="314800" y="459083"/>
                    <a:pt x="314800" y="500620"/>
                  </a:cubicBezTo>
                  <a:lnTo>
                    <a:pt x="314800" y="638345"/>
                  </a:lnTo>
                  <a:lnTo>
                    <a:pt x="441594" y="638345"/>
                  </a:lnTo>
                  <a:lnTo>
                    <a:pt x="439408" y="450339"/>
                  </a:lnTo>
                  <a:close/>
                  <a:moveTo>
                    <a:pt x="312614" y="244844"/>
                  </a:moveTo>
                  <a:cubicBezTo>
                    <a:pt x="312614" y="277636"/>
                    <a:pt x="284195" y="306056"/>
                    <a:pt x="251403" y="306056"/>
                  </a:cubicBezTo>
                  <a:lnTo>
                    <a:pt x="137725" y="306056"/>
                  </a:lnTo>
                  <a:lnTo>
                    <a:pt x="137725" y="135539"/>
                  </a:lnTo>
                  <a:lnTo>
                    <a:pt x="251403" y="135539"/>
                  </a:lnTo>
                  <a:cubicBezTo>
                    <a:pt x="290753" y="135539"/>
                    <a:pt x="314800" y="166144"/>
                    <a:pt x="314800" y="196750"/>
                  </a:cubicBezTo>
                  <a:lnTo>
                    <a:pt x="314800" y="244844"/>
                  </a:lnTo>
                  <a:close/>
                </a:path>
              </a:pathLst>
            </a:custGeom>
            <a:grpFill/>
            <a:ln w="21819" cap="flat">
              <a:noFill/>
              <a:prstDash val="solid"/>
              <a:miter/>
            </a:ln>
          </p:spPr>
          <p:txBody>
            <a:bodyPr rtlCol="0" anchor="ctr"/>
            <a:lstStyle/>
            <a:p>
              <a:endParaRPr lang="de-DE"/>
            </a:p>
          </p:txBody>
        </p:sp>
        <p:sp>
          <p:nvSpPr>
            <p:cNvPr id="17" name="Freihandform: Form 16">
              <a:extLst>
                <a:ext uri="{FF2B5EF4-FFF2-40B4-BE49-F238E27FC236}">
                  <a16:creationId xmlns:a16="http://schemas.microsoft.com/office/drawing/2014/main" id="{E8280F06-77AE-E208-653E-F0027530410F}"/>
                </a:ext>
              </a:extLst>
            </p:cNvPr>
            <p:cNvSpPr/>
            <p:nvPr/>
          </p:nvSpPr>
          <p:spPr>
            <a:xfrm>
              <a:off x="5055670" y="4495188"/>
              <a:ext cx="675508" cy="642716"/>
            </a:xfrm>
            <a:custGeom>
              <a:avLst/>
              <a:gdLst>
                <a:gd name="connsiteX0" fmla="*/ 489689 w 675508"/>
                <a:gd name="connsiteY0" fmla="*/ 0 h 642716"/>
                <a:gd name="connsiteX1" fmla="*/ 424106 w 675508"/>
                <a:gd name="connsiteY1" fmla="*/ 0 h 642716"/>
                <a:gd name="connsiteX2" fmla="*/ 334475 w 675508"/>
                <a:gd name="connsiteY2" fmla="*/ 48094 h 642716"/>
                <a:gd name="connsiteX3" fmla="*/ 247031 w 675508"/>
                <a:gd name="connsiteY3" fmla="*/ 0 h 642716"/>
                <a:gd name="connsiteX4" fmla="*/ 181447 w 675508"/>
                <a:gd name="connsiteY4" fmla="*/ 0 h 642716"/>
                <a:gd name="connsiteX5" fmla="*/ 0 w 675508"/>
                <a:gd name="connsiteY5" fmla="*/ 192378 h 642716"/>
                <a:gd name="connsiteX6" fmla="*/ 0 w 675508"/>
                <a:gd name="connsiteY6" fmla="*/ 640531 h 642716"/>
                <a:gd name="connsiteX7" fmla="*/ 135539 w 675508"/>
                <a:gd name="connsiteY7" fmla="*/ 640531 h 642716"/>
                <a:gd name="connsiteX8" fmla="*/ 135539 w 675508"/>
                <a:gd name="connsiteY8" fmla="*/ 177075 h 642716"/>
                <a:gd name="connsiteX9" fmla="*/ 139911 w 675508"/>
                <a:gd name="connsiteY9" fmla="*/ 155214 h 642716"/>
                <a:gd name="connsiteX10" fmla="*/ 155214 w 675508"/>
                <a:gd name="connsiteY10" fmla="*/ 150842 h 642716"/>
                <a:gd name="connsiteX11" fmla="*/ 249217 w 675508"/>
                <a:gd name="connsiteY11" fmla="*/ 150842 h 642716"/>
                <a:gd name="connsiteX12" fmla="*/ 264519 w 675508"/>
                <a:gd name="connsiteY12" fmla="*/ 155214 h 642716"/>
                <a:gd name="connsiteX13" fmla="*/ 268892 w 675508"/>
                <a:gd name="connsiteY13" fmla="*/ 179261 h 642716"/>
                <a:gd name="connsiteX14" fmla="*/ 268892 w 675508"/>
                <a:gd name="connsiteY14" fmla="*/ 642717 h 642716"/>
                <a:gd name="connsiteX15" fmla="*/ 268892 w 675508"/>
                <a:gd name="connsiteY15" fmla="*/ 642717 h 642716"/>
                <a:gd name="connsiteX16" fmla="*/ 406617 w 675508"/>
                <a:gd name="connsiteY16" fmla="*/ 642717 h 642716"/>
                <a:gd name="connsiteX17" fmla="*/ 406617 w 675508"/>
                <a:gd name="connsiteY17" fmla="*/ 179261 h 642716"/>
                <a:gd name="connsiteX18" fmla="*/ 410989 w 675508"/>
                <a:gd name="connsiteY18" fmla="*/ 155214 h 642716"/>
                <a:gd name="connsiteX19" fmla="*/ 426292 w 675508"/>
                <a:gd name="connsiteY19" fmla="*/ 150842 h 642716"/>
                <a:gd name="connsiteX20" fmla="*/ 520294 w 675508"/>
                <a:gd name="connsiteY20" fmla="*/ 150842 h 642716"/>
                <a:gd name="connsiteX21" fmla="*/ 535597 w 675508"/>
                <a:gd name="connsiteY21" fmla="*/ 155214 h 642716"/>
                <a:gd name="connsiteX22" fmla="*/ 539970 w 675508"/>
                <a:gd name="connsiteY22" fmla="*/ 177075 h 642716"/>
                <a:gd name="connsiteX23" fmla="*/ 539970 w 675508"/>
                <a:gd name="connsiteY23" fmla="*/ 640531 h 642716"/>
                <a:gd name="connsiteX24" fmla="*/ 675509 w 675508"/>
                <a:gd name="connsiteY24" fmla="*/ 640531 h 642716"/>
                <a:gd name="connsiteX25" fmla="*/ 675509 w 675508"/>
                <a:gd name="connsiteY25" fmla="*/ 192378 h 642716"/>
                <a:gd name="connsiteX26" fmla="*/ 489689 w 675508"/>
                <a:gd name="connsiteY26" fmla="*/ 0 h 642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5508" h="642716">
                  <a:moveTo>
                    <a:pt x="489689" y="0"/>
                  </a:moveTo>
                  <a:lnTo>
                    <a:pt x="424106" y="0"/>
                  </a:lnTo>
                  <a:cubicBezTo>
                    <a:pt x="369453" y="0"/>
                    <a:pt x="343220" y="32792"/>
                    <a:pt x="334475" y="48094"/>
                  </a:cubicBezTo>
                  <a:cubicBezTo>
                    <a:pt x="323544" y="30606"/>
                    <a:pt x="297311" y="0"/>
                    <a:pt x="247031" y="0"/>
                  </a:cubicBezTo>
                  <a:lnTo>
                    <a:pt x="181447" y="0"/>
                  </a:lnTo>
                  <a:cubicBezTo>
                    <a:pt x="43722" y="0"/>
                    <a:pt x="0" y="26233"/>
                    <a:pt x="0" y="192378"/>
                  </a:cubicBezTo>
                  <a:lnTo>
                    <a:pt x="0" y="640531"/>
                  </a:lnTo>
                  <a:lnTo>
                    <a:pt x="135539" y="640531"/>
                  </a:lnTo>
                  <a:lnTo>
                    <a:pt x="135539" y="177075"/>
                  </a:lnTo>
                  <a:cubicBezTo>
                    <a:pt x="135539" y="163958"/>
                    <a:pt x="135539" y="157400"/>
                    <a:pt x="139911" y="155214"/>
                  </a:cubicBezTo>
                  <a:cubicBezTo>
                    <a:pt x="142097" y="153028"/>
                    <a:pt x="148655" y="150842"/>
                    <a:pt x="155214" y="150842"/>
                  </a:cubicBezTo>
                  <a:lnTo>
                    <a:pt x="249217" y="150842"/>
                  </a:lnTo>
                  <a:cubicBezTo>
                    <a:pt x="255775" y="150842"/>
                    <a:pt x="260147" y="150842"/>
                    <a:pt x="264519" y="155214"/>
                  </a:cubicBezTo>
                  <a:cubicBezTo>
                    <a:pt x="268892" y="159586"/>
                    <a:pt x="268892" y="163958"/>
                    <a:pt x="268892" y="179261"/>
                  </a:cubicBezTo>
                  <a:lnTo>
                    <a:pt x="268892" y="642717"/>
                  </a:lnTo>
                  <a:lnTo>
                    <a:pt x="268892" y="642717"/>
                  </a:lnTo>
                  <a:lnTo>
                    <a:pt x="406617" y="642717"/>
                  </a:lnTo>
                  <a:lnTo>
                    <a:pt x="406617" y="179261"/>
                  </a:lnTo>
                  <a:cubicBezTo>
                    <a:pt x="406617" y="166144"/>
                    <a:pt x="406617" y="159586"/>
                    <a:pt x="410989" y="155214"/>
                  </a:cubicBezTo>
                  <a:cubicBezTo>
                    <a:pt x="413175" y="153028"/>
                    <a:pt x="419734" y="150842"/>
                    <a:pt x="426292" y="150842"/>
                  </a:cubicBezTo>
                  <a:lnTo>
                    <a:pt x="520294" y="150842"/>
                  </a:lnTo>
                  <a:cubicBezTo>
                    <a:pt x="526853" y="150842"/>
                    <a:pt x="533411" y="150842"/>
                    <a:pt x="535597" y="155214"/>
                  </a:cubicBezTo>
                  <a:cubicBezTo>
                    <a:pt x="539970" y="159586"/>
                    <a:pt x="539970" y="163958"/>
                    <a:pt x="539970" y="177075"/>
                  </a:cubicBezTo>
                  <a:lnTo>
                    <a:pt x="539970" y="640531"/>
                  </a:lnTo>
                  <a:lnTo>
                    <a:pt x="675509" y="640531"/>
                  </a:lnTo>
                  <a:lnTo>
                    <a:pt x="675509" y="192378"/>
                  </a:lnTo>
                  <a:cubicBezTo>
                    <a:pt x="671136" y="26233"/>
                    <a:pt x="627414" y="0"/>
                    <a:pt x="489689" y="0"/>
                  </a:cubicBezTo>
                  <a:close/>
                </a:path>
              </a:pathLst>
            </a:custGeom>
            <a:grpFill/>
            <a:ln w="21819" cap="flat">
              <a:noFill/>
              <a:prstDash val="solid"/>
              <a:miter/>
            </a:ln>
          </p:spPr>
          <p:txBody>
            <a:bodyPr rtlCol="0" anchor="ctr"/>
            <a:lstStyle/>
            <a:p>
              <a:endParaRPr lang="de-DE"/>
            </a:p>
          </p:txBody>
        </p:sp>
      </p:grpSp>
      <p:sp>
        <p:nvSpPr>
          <p:cNvPr id="5" name="Datumsplatzhalter 4">
            <a:extLst>
              <a:ext uri="{FF2B5EF4-FFF2-40B4-BE49-F238E27FC236}">
                <a16:creationId xmlns:a16="http://schemas.microsoft.com/office/drawing/2014/main" id="{2139D42E-1DB5-3A27-9D06-99BD72232728}"/>
              </a:ext>
            </a:extLst>
          </p:cNvPr>
          <p:cNvSpPr>
            <a:spLocks noGrp="1"/>
          </p:cNvSpPr>
          <p:nvPr>
            <p:ph type="dt" sz="half" idx="15"/>
          </p:nvPr>
        </p:nvSpPr>
        <p:spPr/>
        <p:txBody>
          <a:bodyPr/>
          <a:lstStyle>
            <a:lvl1pPr>
              <a:defRPr>
                <a:solidFill>
                  <a:schemeClr val="bg1"/>
                </a:solidFill>
              </a:defRPr>
            </a:lvl1pPr>
          </a:lstStyle>
          <a:p>
            <a:r>
              <a:rPr lang="de-DE"/>
              <a:t>3/18/2024</a:t>
            </a:r>
            <a:endParaRPr lang="de-DE" dirty="0"/>
          </a:p>
        </p:txBody>
      </p:sp>
      <p:sp>
        <p:nvSpPr>
          <p:cNvPr id="18" name="Fußzeilenplatzhalter 17">
            <a:extLst>
              <a:ext uri="{FF2B5EF4-FFF2-40B4-BE49-F238E27FC236}">
                <a16:creationId xmlns:a16="http://schemas.microsoft.com/office/drawing/2014/main" id="{A56C0499-7BD3-A09F-D740-3897CF9C762A}"/>
              </a:ext>
            </a:extLst>
          </p:cNvPr>
          <p:cNvSpPr>
            <a:spLocks noGrp="1"/>
          </p:cNvSpPr>
          <p:nvPr>
            <p:ph type="ftr" sz="quarter" idx="16"/>
          </p:nvPr>
        </p:nvSpPr>
        <p:spPr/>
        <p:txBody>
          <a:bodyPr/>
          <a:lstStyle>
            <a:lvl1pPr>
              <a:defRPr>
                <a:solidFill>
                  <a:schemeClr val="bg1"/>
                </a:solidFill>
              </a:defRPr>
            </a:lvl1pPr>
          </a:lstStyle>
          <a:p>
            <a:endParaRPr lang="de-DE" dirty="0"/>
          </a:p>
        </p:txBody>
      </p:sp>
      <p:sp>
        <p:nvSpPr>
          <p:cNvPr id="19" name="Foliennummernplatzhalter 18">
            <a:extLst>
              <a:ext uri="{FF2B5EF4-FFF2-40B4-BE49-F238E27FC236}">
                <a16:creationId xmlns:a16="http://schemas.microsoft.com/office/drawing/2014/main" id="{0292FAA8-CAE7-C1D1-D8BF-810B8EBCB579}"/>
              </a:ext>
            </a:extLst>
          </p:cNvPr>
          <p:cNvSpPr>
            <a:spLocks noGrp="1"/>
          </p:cNvSpPr>
          <p:nvPr>
            <p:ph type="sldNum" sz="quarter" idx="17"/>
          </p:nvPr>
        </p:nvSpPr>
        <p:spPr/>
        <p:txBody>
          <a:bodyPr/>
          <a:lstStyle>
            <a:lvl1pPr>
              <a:defRPr>
                <a:solidFill>
                  <a:schemeClr val="bg1"/>
                </a:solidFill>
              </a:defRPr>
            </a:lvl1pPr>
          </a:lstStyle>
          <a:p>
            <a:r>
              <a:rPr lang="de-DE"/>
              <a:t>Seite </a:t>
            </a:r>
            <a:fld id="{63A738E5-7FE5-4F0E-80D4-9B95A408A0CB}" type="slidenum">
              <a:rPr lang="de-DE" smtClean="0"/>
              <a:pPr/>
              <a:t>‹Nr.›</a:t>
            </a:fld>
            <a:endParaRPr lang="de-DE" dirty="0"/>
          </a:p>
        </p:txBody>
      </p:sp>
    </p:spTree>
    <p:extLst>
      <p:ext uri="{BB962C8B-B14F-4D97-AF65-F5344CB8AC3E}">
        <p14:creationId xmlns:p14="http://schemas.microsoft.com/office/powerpoint/2010/main" val="40254272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hell+Bild dunkel links">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8241954-1E3B-30BE-0B95-84DCED061A0D}"/>
              </a:ext>
            </a:extLst>
          </p:cNvPr>
          <p:cNvGraphicFramePr>
            <a:graphicFrameLocks noChangeAspect="1"/>
          </p:cNvGraphicFramePr>
          <p:nvPr userDrawn="1">
            <p:custDataLst>
              <p:tags r:id="rId2"/>
            </p:custDataLst>
            <p:extLst>
              <p:ext uri="{D42A27DB-BD31-4B8C-83A1-F6EECF244321}">
                <p14:modId xmlns:p14="http://schemas.microsoft.com/office/powerpoint/2010/main" val="15764163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2" name="think-cell Folie" r:id="rId4" imgW="592" imgH="591" progId="TCLayout.ActiveDocument.1">
                  <p:embed/>
                </p:oleObj>
              </mc:Choice>
              <mc:Fallback>
                <p:oleObj name="think-cell Folie" r:id="rId4" imgW="592" imgH="591" progId="TCLayout.ActiveDocument.1">
                  <p:embed/>
                  <p:pic>
                    <p:nvPicPr>
                      <p:cNvPr id="10" name="think-cell data - do not delete" hidden="1">
                        <a:extLst>
                          <a:ext uri="{FF2B5EF4-FFF2-40B4-BE49-F238E27FC236}">
                            <a16:creationId xmlns:a16="http://schemas.microsoft.com/office/drawing/2014/main" id="{28241954-1E3B-30BE-0B95-84DCED061A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Bildplatzhalter 22">
            <a:extLst>
              <a:ext uri="{FF2B5EF4-FFF2-40B4-BE49-F238E27FC236}">
                <a16:creationId xmlns:a16="http://schemas.microsoft.com/office/drawing/2014/main" id="{A6325F4E-C095-8887-AD8C-781059245532}"/>
              </a:ext>
            </a:extLst>
          </p:cNvPr>
          <p:cNvSpPr>
            <a:spLocks noGrp="1"/>
          </p:cNvSpPr>
          <p:nvPr>
            <p:ph type="pic" sz="quarter" idx="14"/>
          </p:nvPr>
        </p:nvSpPr>
        <p:spPr>
          <a:xfrm>
            <a:off x="0" y="0"/>
            <a:ext cx="6096000" cy="6858000"/>
          </a:xfrm>
          <a:solidFill>
            <a:schemeClr val="tx1"/>
          </a:solidFill>
        </p:spPr>
        <p:txBody>
          <a:bodyPr/>
          <a:lstStyle/>
          <a:p>
            <a:r>
              <a:rPr lang="de-DE"/>
              <a:t>Bild durch Klicken auf Symbol hinzufügen</a:t>
            </a:r>
            <a:endParaRPr lang="de-DE" dirty="0"/>
          </a:p>
        </p:txBody>
      </p:sp>
      <p:sp>
        <p:nvSpPr>
          <p:cNvPr id="2" name="Titel 1">
            <a:extLst>
              <a:ext uri="{FF2B5EF4-FFF2-40B4-BE49-F238E27FC236}">
                <a16:creationId xmlns:a16="http://schemas.microsoft.com/office/drawing/2014/main" id="{2F3D29DB-C29F-7E03-7D11-D8E722D7D825}"/>
              </a:ext>
            </a:extLst>
          </p:cNvPr>
          <p:cNvSpPr>
            <a:spLocks noGrp="1"/>
          </p:cNvSpPr>
          <p:nvPr>
            <p:ph type="title"/>
          </p:nvPr>
        </p:nvSpPr>
        <p:spPr>
          <a:xfrm>
            <a:off x="6456001" y="404813"/>
            <a:ext cx="5328012" cy="415498"/>
          </a:xfrm>
        </p:spPr>
        <p:txBody>
          <a:bodyPr vert="horz"/>
          <a:lstStyle>
            <a:lvl1pPr>
              <a:defRPr>
                <a:solidFill>
                  <a:schemeClr val="tx1"/>
                </a:solidFill>
              </a:defRPr>
            </a:lvl1pPr>
          </a:lstStyle>
          <a:p>
            <a:r>
              <a:rPr lang="de-DE"/>
              <a:t>Mastertitelformat bearbeiten</a:t>
            </a:r>
            <a:endParaRPr lang="en-US" dirty="0"/>
          </a:p>
        </p:txBody>
      </p:sp>
      <p:sp>
        <p:nvSpPr>
          <p:cNvPr id="3" name="Inhaltsplatzhalter 2">
            <a:extLst>
              <a:ext uri="{FF2B5EF4-FFF2-40B4-BE49-F238E27FC236}">
                <a16:creationId xmlns:a16="http://schemas.microsoft.com/office/drawing/2014/main" id="{A50FCC40-B9BD-CC74-817B-4FE8B7ABC4EC}"/>
              </a:ext>
            </a:extLst>
          </p:cNvPr>
          <p:cNvSpPr>
            <a:spLocks noGrp="1"/>
          </p:cNvSpPr>
          <p:nvPr>
            <p:ph idx="1"/>
          </p:nvPr>
        </p:nvSpPr>
        <p:spPr>
          <a:xfrm>
            <a:off x="6456001" y="2060847"/>
            <a:ext cx="5328012" cy="411611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2" name="Textplatzhalter 20">
            <a:extLst>
              <a:ext uri="{FF2B5EF4-FFF2-40B4-BE49-F238E27FC236}">
                <a16:creationId xmlns:a16="http://schemas.microsoft.com/office/drawing/2014/main" id="{DDA07A35-B931-C533-87D6-7ED279EDA0C7}"/>
              </a:ext>
            </a:extLst>
          </p:cNvPr>
          <p:cNvSpPr>
            <a:spLocks noGrp="1"/>
          </p:cNvSpPr>
          <p:nvPr>
            <p:ph type="body" sz="quarter" idx="15" hasCustomPrompt="1"/>
          </p:nvPr>
        </p:nvSpPr>
        <p:spPr>
          <a:xfrm>
            <a:off x="407989" y="6453187"/>
            <a:ext cx="918000" cy="158572"/>
          </a:xfrm>
          <a:blipFill>
            <a:blip r:embed="rId6">
              <a:extLst>
                <a:ext uri="{96DAC541-7B7A-43D3-8B79-37D633B846F1}">
                  <asvg:svgBlip xmlns:asvg="http://schemas.microsoft.com/office/drawing/2016/SVG/main" r:embed="rId7"/>
                </a:ext>
              </a:extLst>
            </a:blip>
            <a:stretch>
              <a:fillRect/>
            </a:stretch>
          </a:blipFill>
        </p:spPr>
        <p:txBody>
          <a:bodyPr/>
          <a:lstStyle>
            <a:lvl1pPr marL="0" indent="0">
              <a:buNone/>
              <a:defRPr sz="100"/>
            </a:lvl1pPr>
          </a:lstStyle>
          <a:p>
            <a:pPr lvl="0"/>
            <a:r>
              <a:rPr lang="de-DE" dirty="0"/>
              <a:t> </a:t>
            </a:r>
          </a:p>
        </p:txBody>
      </p:sp>
      <p:sp>
        <p:nvSpPr>
          <p:cNvPr id="4" name="Datumsplatzhalter 3">
            <a:extLst>
              <a:ext uri="{FF2B5EF4-FFF2-40B4-BE49-F238E27FC236}">
                <a16:creationId xmlns:a16="http://schemas.microsoft.com/office/drawing/2014/main" id="{A608F56A-7683-5FD0-4D23-8B19A75D903B}"/>
              </a:ext>
            </a:extLst>
          </p:cNvPr>
          <p:cNvSpPr>
            <a:spLocks noGrp="1"/>
          </p:cNvSpPr>
          <p:nvPr>
            <p:ph type="dt" sz="half" idx="16"/>
          </p:nvPr>
        </p:nvSpPr>
        <p:spPr/>
        <p:txBody>
          <a:bodyPr/>
          <a:lstStyle/>
          <a:p>
            <a:r>
              <a:rPr lang="de-DE"/>
              <a:t>3/18/2024</a:t>
            </a:r>
            <a:endParaRPr lang="de-DE" dirty="0"/>
          </a:p>
        </p:txBody>
      </p:sp>
      <p:sp>
        <p:nvSpPr>
          <p:cNvPr id="5" name="Fußzeilenplatzhalter 4">
            <a:extLst>
              <a:ext uri="{FF2B5EF4-FFF2-40B4-BE49-F238E27FC236}">
                <a16:creationId xmlns:a16="http://schemas.microsoft.com/office/drawing/2014/main" id="{E82B84DB-28EA-2176-23E8-4DF59CF49C22}"/>
              </a:ext>
            </a:extLst>
          </p:cNvPr>
          <p:cNvSpPr>
            <a:spLocks noGrp="1"/>
          </p:cNvSpPr>
          <p:nvPr>
            <p:ph type="ftr" sz="quarter" idx="17"/>
          </p:nvPr>
        </p:nvSpPr>
        <p:spPr/>
        <p:txBody>
          <a:bodyPr/>
          <a:lstStyle/>
          <a:p>
            <a:endParaRPr lang="de-DE" dirty="0"/>
          </a:p>
        </p:txBody>
      </p:sp>
      <p:sp>
        <p:nvSpPr>
          <p:cNvPr id="6" name="Foliennummernplatzhalter 5">
            <a:extLst>
              <a:ext uri="{FF2B5EF4-FFF2-40B4-BE49-F238E27FC236}">
                <a16:creationId xmlns:a16="http://schemas.microsoft.com/office/drawing/2014/main" id="{EB596A53-5C95-BE65-05CB-F6E0B4D511C5}"/>
              </a:ext>
            </a:extLst>
          </p:cNvPr>
          <p:cNvSpPr>
            <a:spLocks noGrp="1"/>
          </p:cNvSpPr>
          <p:nvPr>
            <p:ph type="sldNum" sz="quarter" idx="18"/>
          </p:nvPr>
        </p:nvSpPr>
        <p:spPr/>
        <p:txBody>
          <a:bodyPr/>
          <a:lstStyle/>
          <a:p>
            <a:r>
              <a:rPr lang="de-DE"/>
              <a:t>Seite </a:t>
            </a:r>
            <a:fld id="{63A738E5-7FE5-4F0E-80D4-9B95A408A0CB}" type="slidenum">
              <a:rPr lang="de-DE" smtClean="0"/>
              <a:pPr/>
              <a:t>‹Nr.›</a:t>
            </a:fld>
            <a:endParaRPr lang="de-DE" dirty="0"/>
          </a:p>
        </p:txBody>
      </p:sp>
    </p:spTree>
    <p:extLst>
      <p:ext uri="{BB962C8B-B14F-4D97-AF65-F5344CB8AC3E}">
        <p14:creationId xmlns:p14="http://schemas.microsoft.com/office/powerpoint/2010/main" val="13217957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hell+Bild hell links">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8241954-1E3B-30BE-0B95-84DCED061A0D}"/>
              </a:ext>
            </a:extLst>
          </p:cNvPr>
          <p:cNvGraphicFramePr>
            <a:graphicFrameLocks noChangeAspect="1"/>
          </p:cNvGraphicFramePr>
          <p:nvPr userDrawn="1">
            <p:custDataLst>
              <p:tags r:id="rId2"/>
            </p:custDataLst>
            <p:extLst>
              <p:ext uri="{D42A27DB-BD31-4B8C-83A1-F6EECF244321}">
                <p14:modId xmlns:p14="http://schemas.microsoft.com/office/powerpoint/2010/main" val="2722585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6" name="think-cell Folie" r:id="rId4" imgW="592" imgH="591" progId="TCLayout.ActiveDocument.1">
                  <p:embed/>
                </p:oleObj>
              </mc:Choice>
              <mc:Fallback>
                <p:oleObj name="think-cell Folie" r:id="rId4" imgW="592" imgH="591" progId="TCLayout.ActiveDocument.1">
                  <p:embed/>
                  <p:pic>
                    <p:nvPicPr>
                      <p:cNvPr id="10" name="think-cell data - do not delete" hidden="1">
                        <a:extLst>
                          <a:ext uri="{FF2B5EF4-FFF2-40B4-BE49-F238E27FC236}">
                            <a16:creationId xmlns:a16="http://schemas.microsoft.com/office/drawing/2014/main" id="{28241954-1E3B-30BE-0B95-84DCED061A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Bildplatzhalter 22">
            <a:extLst>
              <a:ext uri="{FF2B5EF4-FFF2-40B4-BE49-F238E27FC236}">
                <a16:creationId xmlns:a16="http://schemas.microsoft.com/office/drawing/2014/main" id="{A6325F4E-C095-8887-AD8C-781059245532}"/>
              </a:ext>
            </a:extLst>
          </p:cNvPr>
          <p:cNvSpPr>
            <a:spLocks noGrp="1"/>
          </p:cNvSpPr>
          <p:nvPr>
            <p:ph type="pic" sz="quarter" idx="14"/>
          </p:nvPr>
        </p:nvSpPr>
        <p:spPr>
          <a:xfrm>
            <a:off x="0" y="0"/>
            <a:ext cx="6096000" cy="6858000"/>
          </a:xfrm>
          <a:solidFill>
            <a:schemeClr val="bg1"/>
          </a:solidFill>
        </p:spPr>
        <p:txBody>
          <a:bodyPr/>
          <a:lstStyle/>
          <a:p>
            <a:r>
              <a:rPr lang="de-DE"/>
              <a:t>Bild durch Klicken auf Symbol hinzufügen</a:t>
            </a:r>
            <a:endParaRPr lang="de-DE" dirty="0"/>
          </a:p>
        </p:txBody>
      </p:sp>
      <p:sp>
        <p:nvSpPr>
          <p:cNvPr id="2" name="Titel 1">
            <a:extLst>
              <a:ext uri="{FF2B5EF4-FFF2-40B4-BE49-F238E27FC236}">
                <a16:creationId xmlns:a16="http://schemas.microsoft.com/office/drawing/2014/main" id="{2F3D29DB-C29F-7E03-7D11-D8E722D7D825}"/>
              </a:ext>
            </a:extLst>
          </p:cNvPr>
          <p:cNvSpPr>
            <a:spLocks noGrp="1"/>
          </p:cNvSpPr>
          <p:nvPr>
            <p:ph type="title"/>
          </p:nvPr>
        </p:nvSpPr>
        <p:spPr>
          <a:xfrm>
            <a:off x="6456001" y="404813"/>
            <a:ext cx="5328012" cy="415498"/>
          </a:xfrm>
        </p:spPr>
        <p:txBody>
          <a:bodyPr vert="horz"/>
          <a:lstStyle>
            <a:lvl1pPr>
              <a:defRPr>
                <a:solidFill>
                  <a:schemeClr val="tx1"/>
                </a:solidFill>
              </a:defRPr>
            </a:lvl1pPr>
          </a:lstStyle>
          <a:p>
            <a:r>
              <a:rPr lang="de-DE"/>
              <a:t>Mastertitelformat bearbeiten</a:t>
            </a:r>
            <a:endParaRPr lang="en-US" dirty="0"/>
          </a:p>
        </p:txBody>
      </p:sp>
      <p:sp>
        <p:nvSpPr>
          <p:cNvPr id="3" name="Inhaltsplatzhalter 2">
            <a:extLst>
              <a:ext uri="{FF2B5EF4-FFF2-40B4-BE49-F238E27FC236}">
                <a16:creationId xmlns:a16="http://schemas.microsoft.com/office/drawing/2014/main" id="{A50FCC40-B9BD-CC74-817B-4FE8B7ABC4EC}"/>
              </a:ext>
            </a:extLst>
          </p:cNvPr>
          <p:cNvSpPr>
            <a:spLocks noGrp="1"/>
          </p:cNvSpPr>
          <p:nvPr>
            <p:ph idx="1"/>
          </p:nvPr>
        </p:nvSpPr>
        <p:spPr>
          <a:xfrm>
            <a:off x="6456001" y="2060847"/>
            <a:ext cx="5328012" cy="411611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platzhalter 20">
            <a:extLst>
              <a:ext uri="{FF2B5EF4-FFF2-40B4-BE49-F238E27FC236}">
                <a16:creationId xmlns:a16="http://schemas.microsoft.com/office/drawing/2014/main" id="{820B71A9-9D4D-2A5F-3BE6-E5F95FDBE5F8}"/>
              </a:ext>
            </a:extLst>
          </p:cNvPr>
          <p:cNvSpPr>
            <a:spLocks noGrp="1"/>
          </p:cNvSpPr>
          <p:nvPr>
            <p:ph type="body" sz="quarter" idx="13" hasCustomPrompt="1"/>
          </p:nvPr>
        </p:nvSpPr>
        <p:spPr>
          <a:xfrm>
            <a:off x="407989" y="6453187"/>
            <a:ext cx="918000" cy="158572"/>
          </a:xfrm>
          <a:blipFill>
            <a:blip r:embed="rId6">
              <a:extLst>
                <a:ext uri="{96DAC541-7B7A-43D3-8B79-37D633B846F1}">
                  <asvg:svgBlip xmlns:asvg="http://schemas.microsoft.com/office/drawing/2016/SVG/main" r:embed="rId7"/>
                </a:ext>
              </a:extLst>
            </a:blip>
            <a:stretch>
              <a:fillRect/>
            </a:stretch>
          </a:blipFill>
        </p:spPr>
        <p:txBody>
          <a:bodyPr/>
          <a:lstStyle>
            <a:lvl1pPr marL="0" indent="0">
              <a:buNone/>
              <a:defRPr sz="100"/>
            </a:lvl1pPr>
          </a:lstStyle>
          <a:p>
            <a:pPr lvl="0"/>
            <a:r>
              <a:rPr lang="de-DE" dirty="0"/>
              <a:t> </a:t>
            </a:r>
          </a:p>
        </p:txBody>
      </p:sp>
      <p:sp>
        <p:nvSpPr>
          <p:cNvPr id="5" name="Datumsplatzhalter 4">
            <a:extLst>
              <a:ext uri="{FF2B5EF4-FFF2-40B4-BE49-F238E27FC236}">
                <a16:creationId xmlns:a16="http://schemas.microsoft.com/office/drawing/2014/main" id="{55F27386-BA96-7388-2058-DB06ABFF70C9}"/>
              </a:ext>
            </a:extLst>
          </p:cNvPr>
          <p:cNvSpPr>
            <a:spLocks noGrp="1"/>
          </p:cNvSpPr>
          <p:nvPr>
            <p:ph type="dt" sz="half" idx="15"/>
          </p:nvPr>
        </p:nvSpPr>
        <p:spPr/>
        <p:txBody>
          <a:bodyPr/>
          <a:lstStyle/>
          <a:p>
            <a:r>
              <a:rPr lang="de-DE"/>
              <a:t>3/18/2024</a:t>
            </a:r>
            <a:endParaRPr lang="de-DE" dirty="0"/>
          </a:p>
        </p:txBody>
      </p:sp>
      <p:sp>
        <p:nvSpPr>
          <p:cNvPr id="6" name="Fußzeilenplatzhalter 5">
            <a:extLst>
              <a:ext uri="{FF2B5EF4-FFF2-40B4-BE49-F238E27FC236}">
                <a16:creationId xmlns:a16="http://schemas.microsoft.com/office/drawing/2014/main" id="{9A22B2CF-40C1-7682-8CA4-82037A85B644}"/>
              </a:ext>
            </a:extLst>
          </p:cNvPr>
          <p:cNvSpPr>
            <a:spLocks noGrp="1"/>
          </p:cNvSpPr>
          <p:nvPr>
            <p:ph type="ftr" sz="quarter" idx="16"/>
          </p:nvPr>
        </p:nvSpPr>
        <p:spPr/>
        <p:txBody>
          <a:bodyPr/>
          <a:lstStyle/>
          <a:p>
            <a:endParaRPr lang="de-DE" dirty="0"/>
          </a:p>
        </p:txBody>
      </p:sp>
      <p:sp>
        <p:nvSpPr>
          <p:cNvPr id="11" name="Foliennummernplatzhalter 10">
            <a:extLst>
              <a:ext uri="{FF2B5EF4-FFF2-40B4-BE49-F238E27FC236}">
                <a16:creationId xmlns:a16="http://schemas.microsoft.com/office/drawing/2014/main" id="{A9C05721-C1B5-76E5-9D81-21D646319424}"/>
              </a:ext>
            </a:extLst>
          </p:cNvPr>
          <p:cNvSpPr>
            <a:spLocks noGrp="1"/>
          </p:cNvSpPr>
          <p:nvPr>
            <p:ph type="sldNum" sz="quarter" idx="17"/>
          </p:nvPr>
        </p:nvSpPr>
        <p:spPr/>
        <p:txBody>
          <a:bodyPr/>
          <a:lstStyle/>
          <a:p>
            <a:r>
              <a:rPr lang="de-DE"/>
              <a:t>Seite </a:t>
            </a:r>
            <a:fld id="{63A738E5-7FE5-4F0E-80D4-9B95A408A0CB}" type="slidenum">
              <a:rPr lang="de-DE" smtClean="0"/>
              <a:pPr/>
              <a:t>‹Nr.›</a:t>
            </a:fld>
            <a:endParaRPr lang="de-DE" dirty="0"/>
          </a:p>
        </p:txBody>
      </p:sp>
    </p:spTree>
    <p:extLst>
      <p:ext uri="{BB962C8B-B14F-4D97-AF65-F5344CB8AC3E}">
        <p14:creationId xmlns:p14="http://schemas.microsoft.com/office/powerpoint/2010/main" val="18169660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dunkel+Bild dunkel links">
    <p:bg>
      <p:bgPr>
        <a:solidFill>
          <a:schemeClr val="tx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8241954-1E3B-30BE-0B95-84DCED061A0D}"/>
              </a:ext>
            </a:extLst>
          </p:cNvPr>
          <p:cNvGraphicFramePr>
            <a:graphicFrameLocks noChangeAspect="1"/>
          </p:cNvGraphicFramePr>
          <p:nvPr userDrawn="1">
            <p:custDataLst>
              <p:tags r:id="rId2"/>
            </p:custDataLst>
            <p:extLst>
              <p:ext uri="{D42A27DB-BD31-4B8C-83A1-F6EECF244321}">
                <p14:modId xmlns:p14="http://schemas.microsoft.com/office/powerpoint/2010/main" val="1123091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50" name="think-cell Folie" r:id="rId4" imgW="592" imgH="591" progId="TCLayout.ActiveDocument.1">
                  <p:embed/>
                </p:oleObj>
              </mc:Choice>
              <mc:Fallback>
                <p:oleObj name="think-cell Folie"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Bildplatzhalter 22">
            <a:extLst>
              <a:ext uri="{FF2B5EF4-FFF2-40B4-BE49-F238E27FC236}">
                <a16:creationId xmlns:a16="http://schemas.microsoft.com/office/drawing/2014/main" id="{A6325F4E-C095-8887-AD8C-781059245532}"/>
              </a:ext>
            </a:extLst>
          </p:cNvPr>
          <p:cNvSpPr>
            <a:spLocks noGrp="1"/>
          </p:cNvSpPr>
          <p:nvPr>
            <p:ph type="pic" sz="quarter" idx="14"/>
          </p:nvPr>
        </p:nvSpPr>
        <p:spPr>
          <a:xfrm>
            <a:off x="0" y="0"/>
            <a:ext cx="6096000" cy="6858000"/>
          </a:xfrm>
          <a:solidFill>
            <a:schemeClr val="tx1"/>
          </a:solidFill>
        </p:spPr>
        <p:txBody>
          <a:bodyPr/>
          <a:lstStyle>
            <a:lvl1pPr>
              <a:defRPr>
                <a:solidFill>
                  <a:schemeClr val="bg1"/>
                </a:solidFill>
              </a:defRPr>
            </a:lvl1pPr>
          </a:lstStyle>
          <a:p>
            <a:r>
              <a:rPr lang="de-DE"/>
              <a:t>Bild durch Klicken auf Symbol hinzufügen</a:t>
            </a:r>
          </a:p>
        </p:txBody>
      </p:sp>
      <p:sp>
        <p:nvSpPr>
          <p:cNvPr id="2" name="Titel 1">
            <a:extLst>
              <a:ext uri="{FF2B5EF4-FFF2-40B4-BE49-F238E27FC236}">
                <a16:creationId xmlns:a16="http://schemas.microsoft.com/office/drawing/2014/main" id="{2F3D29DB-C29F-7E03-7D11-D8E722D7D825}"/>
              </a:ext>
            </a:extLst>
          </p:cNvPr>
          <p:cNvSpPr>
            <a:spLocks noGrp="1"/>
          </p:cNvSpPr>
          <p:nvPr>
            <p:ph type="title"/>
          </p:nvPr>
        </p:nvSpPr>
        <p:spPr>
          <a:xfrm>
            <a:off x="6456001" y="404813"/>
            <a:ext cx="5328012" cy="415498"/>
          </a:xfrm>
        </p:spPr>
        <p:txBody>
          <a:bodyPr vert="horz"/>
          <a:lstStyle>
            <a:lvl1pPr>
              <a:defRPr>
                <a:solidFill>
                  <a:schemeClr val="bg1"/>
                </a:solidFill>
              </a:defRPr>
            </a:lvl1pPr>
          </a:lstStyle>
          <a:p>
            <a:r>
              <a:rPr lang="de-DE"/>
              <a:t>Mastertitelformat bearbeiten</a:t>
            </a:r>
            <a:endParaRPr lang="en-US" dirty="0"/>
          </a:p>
        </p:txBody>
      </p:sp>
      <p:sp>
        <p:nvSpPr>
          <p:cNvPr id="3" name="Inhaltsplatzhalter 2">
            <a:extLst>
              <a:ext uri="{FF2B5EF4-FFF2-40B4-BE49-F238E27FC236}">
                <a16:creationId xmlns:a16="http://schemas.microsoft.com/office/drawing/2014/main" id="{A50FCC40-B9BD-CC74-817B-4FE8B7ABC4EC}"/>
              </a:ext>
            </a:extLst>
          </p:cNvPr>
          <p:cNvSpPr>
            <a:spLocks noGrp="1"/>
          </p:cNvSpPr>
          <p:nvPr>
            <p:ph idx="1"/>
          </p:nvPr>
        </p:nvSpPr>
        <p:spPr>
          <a:xfrm>
            <a:off x="6456001" y="2060847"/>
            <a:ext cx="5328012" cy="411611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2" name="Textplatzhalter 20">
            <a:extLst>
              <a:ext uri="{FF2B5EF4-FFF2-40B4-BE49-F238E27FC236}">
                <a16:creationId xmlns:a16="http://schemas.microsoft.com/office/drawing/2014/main" id="{DDA07A35-B931-C533-87D6-7ED279EDA0C7}"/>
              </a:ext>
            </a:extLst>
          </p:cNvPr>
          <p:cNvSpPr>
            <a:spLocks noGrp="1"/>
          </p:cNvSpPr>
          <p:nvPr>
            <p:ph type="body" sz="quarter" idx="15" hasCustomPrompt="1"/>
          </p:nvPr>
        </p:nvSpPr>
        <p:spPr>
          <a:xfrm>
            <a:off x="407989" y="6453187"/>
            <a:ext cx="918000" cy="158572"/>
          </a:xfrm>
          <a:blipFill>
            <a:blip r:embed="rId6">
              <a:extLst>
                <a:ext uri="{96DAC541-7B7A-43D3-8B79-37D633B846F1}">
                  <asvg:svgBlip xmlns:asvg="http://schemas.microsoft.com/office/drawing/2016/SVG/main" r:embed="rId7"/>
                </a:ext>
              </a:extLst>
            </a:blip>
            <a:stretch>
              <a:fillRect/>
            </a:stretch>
          </a:blipFill>
        </p:spPr>
        <p:txBody>
          <a:bodyPr/>
          <a:lstStyle>
            <a:lvl1pPr marL="0" indent="0">
              <a:buNone/>
              <a:defRPr sz="100"/>
            </a:lvl1pPr>
          </a:lstStyle>
          <a:p>
            <a:pPr lvl="0"/>
            <a:r>
              <a:rPr lang="de-DE" dirty="0"/>
              <a:t> </a:t>
            </a:r>
          </a:p>
        </p:txBody>
      </p:sp>
      <p:sp>
        <p:nvSpPr>
          <p:cNvPr id="4" name="Datumsplatzhalter 3">
            <a:extLst>
              <a:ext uri="{FF2B5EF4-FFF2-40B4-BE49-F238E27FC236}">
                <a16:creationId xmlns:a16="http://schemas.microsoft.com/office/drawing/2014/main" id="{71C50924-ADD8-0782-E94B-CA2DE16928F9}"/>
              </a:ext>
            </a:extLst>
          </p:cNvPr>
          <p:cNvSpPr>
            <a:spLocks noGrp="1"/>
          </p:cNvSpPr>
          <p:nvPr>
            <p:ph type="dt" sz="half" idx="16"/>
          </p:nvPr>
        </p:nvSpPr>
        <p:spPr/>
        <p:txBody>
          <a:bodyPr/>
          <a:lstStyle>
            <a:lvl1pPr>
              <a:defRPr>
                <a:solidFill>
                  <a:schemeClr val="bg1"/>
                </a:solidFill>
              </a:defRPr>
            </a:lvl1pPr>
          </a:lstStyle>
          <a:p>
            <a:r>
              <a:rPr lang="de-DE"/>
              <a:t>3/18/2024</a:t>
            </a:r>
            <a:endParaRPr lang="de-DE" dirty="0"/>
          </a:p>
        </p:txBody>
      </p:sp>
      <p:sp>
        <p:nvSpPr>
          <p:cNvPr id="5" name="Fußzeilenplatzhalter 4">
            <a:extLst>
              <a:ext uri="{FF2B5EF4-FFF2-40B4-BE49-F238E27FC236}">
                <a16:creationId xmlns:a16="http://schemas.microsoft.com/office/drawing/2014/main" id="{34C3691F-6171-A6F0-3496-7841C4C7CAAB}"/>
              </a:ext>
            </a:extLst>
          </p:cNvPr>
          <p:cNvSpPr>
            <a:spLocks noGrp="1"/>
          </p:cNvSpPr>
          <p:nvPr>
            <p:ph type="ftr" sz="quarter" idx="17"/>
          </p:nvPr>
        </p:nvSpPr>
        <p:spPr/>
        <p:txBody>
          <a:bodyPr/>
          <a:lstStyle>
            <a:lvl1pPr>
              <a:defRPr>
                <a:solidFill>
                  <a:schemeClr val="bg1"/>
                </a:solidFill>
              </a:defRPr>
            </a:lvl1pPr>
          </a:lstStyle>
          <a:p>
            <a:endParaRPr lang="de-DE" dirty="0"/>
          </a:p>
        </p:txBody>
      </p:sp>
      <p:sp>
        <p:nvSpPr>
          <p:cNvPr id="6" name="Foliennummernplatzhalter 5">
            <a:extLst>
              <a:ext uri="{FF2B5EF4-FFF2-40B4-BE49-F238E27FC236}">
                <a16:creationId xmlns:a16="http://schemas.microsoft.com/office/drawing/2014/main" id="{0110815D-E71C-B6C9-FFF9-0687F27F88EC}"/>
              </a:ext>
            </a:extLst>
          </p:cNvPr>
          <p:cNvSpPr>
            <a:spLocks noGrp="1"/>
          </p:cNvSpPr>
          <p:nvPr>
            <p:ph type="sldNum" sz="quarter" idx="18"/>
          </p:nvPr>
        </p:nvSpPr>
        <p:spPr/>
        <p:txBody>
          <a:bodyPr/>
          <a:lstStyle>
            <a:lvl1pPr>
              <a:defRPr>
                <a:solidFill>
                  <a:schemeClr val="bg1"/>
                </a:solidFill>
              </a:defRPr>
            </a:lvl1pPr>
          </a:lstStyle>
          <a:p>
            <a:r>
              <a:rPr lang="de-DE"/>
              <a:t>Seite </a:t>
            </a:r>
            <a:fld id="{63A738E5-7FE5-4F0E-80D4-9B95A408A0CB}" type="slidenum">
              <a:rPr lang="de-DE" smtClean="0"/>
              <a:pPr/>
              <a:t>‹Nr.›</a:t>
            </a:fld>
            <a:endParaRPr lang="de-DE" dirty="0"/>
          </a:p>
        </p:txBody>
      </p:sp>
    </p:spTree>
    <p:extLst>
      <p:ext uri="{BB962C8B-B14F-4D97-AF65-F5344CB8AC3E}">
        <p14:creationId xmlns:p14="http://schemas.microsoft.com/office/powerpoint/2010/main" val="9162851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dunkel+Bild hell links">
    <p:bg>
      <p:bgPr>
        <a:solidFill>
          <a:schemeClr val="tx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8241954-1E3B-30BE-0B95-84DCED061A0D}"/>
              </a:ext>
            </a:extLst>
          </p:cNvPr>
          <p:cNvGraphicFramePr>
            <a:graphicFrameLocks noChangeAspect="1"/>
          </p:cNvGraphicFramePr>
          <p:nvPr userDrawn="1">
            <p:custDataLst>
              <p:tags r:id="rId2"/>
            </p:custDataLst>
            <p:extLst>
              <p:ext uri="{D42A27DB-BD31-4B8C-83A1-F6EECF244321}">
                <p14:modId xmlns:p14="http://schemas.microsoft.com/office/powerpoint/2010/main" val="2585110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4" name="think-cell Folie" r:id="rId4" imgW="592" imgH="591" progId="TCLayout.ActiveDocument.1">
                  <p:embed/>
                </p:oleObj>
              </mc:Choice>
              <mc:Fallback>
                <p:oleObj name="think-cell Folie" r:id="rId4" imgW="592" imgH="591" progId="TCLayout.ActiveDocument.1">
                  <p:embed/>
                  <p:pic>
                    <p:nvPicPr>
                      <p:cNvPr id="10" name="think-cell data - do not delete" hidden="1">
                        <a:extLst>
                          <a:ext uri="{FF2B5EF4-FFF2-40B4-BE49-F238E27FC236}">
                            <a16:creationId xmlns:a16="http://schemas.microsoft.com/office/drawing/2014/main" id="{28241954-1E3B-30BE-0B95-84DCED061A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Bildplatzhalter 22">
            <a:extLst>
              <a:ext uri="{FF2B5EF4-FFF2-40B4-BE49-F238E27FC236}">
                <a16:creationId xmlns:a16="http://schemas.microsoft.com/office/drawing/2014/main" id="{A6325F4E-C095-8887-AD8C-781059245532}"/>
              </a:ext>
            </a:extLst>
          </p:cNvPr>
          <p:cNvSpPr>
            <a:spLocks noGrp="1"/>
          </p:cNvSpPr>
          <p:nvPr>
            <p:ph type="pic" sz="quarter" idx="14"/>
          </p:nvPr>
        </p:nvSpPr>
        <p:spPr>
          <a:xfrm>
            <a:off x="0" y="0"/>
            <a:ext cx="6096000" cy="6858000"/>
          </a:xfrm>
          <a:solidFill>
            <a:schemeClr val="bg1"/>
          </a:solidFill>
        </p:spPr>
        <p:txBody>
          <a:bodyPr/>
          <a:lstStyle/>
          <a:p>
            <a:r>
              <a:rPr lang="de-DE"/>
              <a:t>Bild durch Klicken auf Symbol hinzufügen</a:t>
            </a:r>
            <a:endParaRPr lang="de-DE" dirty="0"/>
          </a:p>
        </p:txBody>
      </p:sp>
      <p:sp>
        <p:nvSpPr>
          <p:cNvPr id="2" name="Titel 1">
            <a:extLst>
              <a:ext uri="{FF2B5EF4-FFF2-40B4-BE49-F238E27FC236}">
                <a16:creationId xmlns:a16="http://schemas.microsoft.com/office/drawing/2014/main" id="{2F3D29DB-C29F-7E03-7D11-D8E722D7D825}"/>
              </a:ext>
            </a:extLst>
          </p:cNvPr>
          <p:cNvSpPr>
            <a:spLocks noGrp="1"/>
          </p:cNvSpPr>
          <p:nvPr>
            <p:ph type="title"/>
          </p:nvPr>
        </p:nvSpPr>
        <p:spPr>
          <a:xfrm>
            <a:off x="6456001" y="404813"/>
            <a:ext cx="5328012" cy="415498"/>
          </a:xfrm>
        </p:spPr>
        <p:txBody>
          <a:bodyPr vert="horz"/>
          <a:lstStyle>
            <a:lvl1pPr>
              <a:defRPr>
                <a:solidFill>
                  <a:schemeClr val="bg1"/>
                </a:solidFill>
              </a:defRPr>
            </a:lvl1pPr>
          </a:lstStyle>
          <a:p>
            <a:r>
              <a:rPr lang="de-DE"/>
              <a:t>Mastertitelformat bearbeiten</a:t>
            </a:r>
            <a:endParaRPr lang="en-US" dirty="0"/>
          </a:p>
        </p:txBody>
      </p:sp>
      <p:sp>
        <p:nvSpPr>
          <p:cNvPr id="3" name="Inhaltsplatzhalter 2">
            <a:extLst>
              <a:ext uri="{FF2B5EF4-FFF2-40B4-BE49-F238E27FC236}">
                <a16:creationId xmlns:a16="http://schemas.microsoft.com/office/drawing/2014/main" id="{A50FCC40-B9BD-CC74-817B-4FE8B7ABC4EC}"/>
              </a:ext>
            </a:extLst>
          </p:cNvPr>
          <p:cNvSpPr>
            <a:spLocks noGrp="1"/>
          </p:cNvSpPr>
          <p:nvPr>
            <p:ph idx="1"/>
          </p:nvPr>
        </p:nvSpPr>
        <p:spPr>
          <a:xfrm>
            <a:off x="6456001" y="2060847"/>
            <a:ext cx="5328012" cy="411611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1" name="Textplatzhalter 20">
            <a:extLst>
              <a:ext uri="{FF2B5EF4-FFF2-40B4-BE49-F238E27FC236}">
                <a16:creationId xmlns:a16="http://schemas.microsoft.com/office/drawing/2014/main" id="{01F33354-6B0F-32D1-6B95-72F2628DC144}"/>
              </a:ext>
            </a:extLst>
          </p:cNvPr>
          <p:cNvSpPr>
            <a:spLocks noGrp="1"/>
          </p:cNvSpPr>
          <p:nvPr>
            <p:ph type="body" sz="quarter" idx="13" hasCustomPrompt="1"/>
          </p:nvPr>
        </p:nvSpPr>
        <p:spPr>
          <a:xfrm>
            <a:off x="407989" y="6453187"/>
            <a:ext cx="918000" cy="158572"/>
          </a:xfrm>
          <a:blipFill>
            <a:blip r:embed="rId6">
              <a:extLst>
                <a:ext uri="{96DAC541-7B7A-43D3-8B79-37D633B846F1}">
                  <asvg:svgBlip xmlns:asvg="http://schemas.microsoft.com/office/drawing/2016/SVG/main" r:embed="rId7"/>
                </a:ext>
              </a:extLst>
            </a:blip>
            <a:stretch>
              <a:fillRect/>
            </a:stretch>
          </a:blipFill>
        </p:spPr>
        <p:txBody>
          <a:bodyPr/>
          <a:lstStyle>
            <a:lvl1pPr marL="0" indent="0">
              <a:buNone/>
              <a:defRPr sz="100"/>
            </a:lvl1pPr>
          </a:lstStyle>
          <a:p>
            <a:pPr lvl="0"/>
            <a:r>
              <a:rPr lang="de-DE" dirty="0"/>
              <a:t> </a:t>
            </a:r>
          </a:p>
        </p:txBody>
      </p:sp>
      <p:sp>
        <p:nvSpPr>
          <p:cNvPr id="4" name="Datumsplatzhalter 3">
            <a:extLst>
              <a:ext uri="{FF2B5EF4-FFF2-40B4-BE49-F238E27FC236}">
                <a16:creationId xmlns:a16="http://schemas.microsoft.com/office/drawing/2014/main" id="{0769F6B5-CA56-1F9E-32D1-05290C3675B9}"/>
              </a:ext>
            </a:extLst>
          </p:cNvPr>
          <p:cNvSpPr>
            <a:spLocks noGrp="1"/>
          </p:cNvSpPr>
          <p:nvPr>
            <p:ph type="dt" sz="half" idx="15"/>
          </p:nvPr>
        </p:nvSpPr>
        <p:spPr/>
        <p:txBody>
          <a:bodyPr/>
          <a:lstStyle/>
          <a:p>
            <a:r>
              <a:rPr lang="de-DE"/>
              <a:t>3/18/2024</a:t>
            </a:r>
            <a:endParaRPr lang="de-DE" dirty="0"/>
          </a:p>
        </p:txBody>
      </p:sp>
      <p:sp>
        <p:nvSpPr>
          <p:cNvPr id="5" name="Fußzeilenplatzhalter 4">
            <a:extLst>
              <a:ext uri="{FF2B5EF4-FFF2-40B4-BE49-F238E27FC236}">
                <a16:creationId xmlns:a16="http://schemas.microsoft.com/office/drawing/2014/main" id="{F2CA8B1B-DC32-17F0-EBDA-08B427CCA10C}"/>
              </a:ext>
            </a:extLst>
          </p:cNvPr>
          <p:cNvSpPr>
            <a:spLocks noGrp="1"/>
          </p:cNvSpPr>
          <p:nvPr>
            <p:ph type="ftr" sz="quarter" idx="16"/>
          </p:nvPr>
        </p:nvSpPr>
        <p:spPr/>
        <p:txBody>
          <a:bodyPr/>
          <a:lstStyle>
            <a:lvl1pPr>
              <a:defRPr>
                <a:solidFill>
                  <a:schemeClr val="bg1"/>
                </a:solidFill>
              </a:defRPr>
            </a:lvl1pPr>
          </a:lstStyle>
          <a:p>
            <a:endParaRPr lang="de-DE" dirty="0"/>
          </a:p>
        </p:txBody>
      </p:sp>
      <p:sp>
        <p:nvSpPr>
          <p:cNvPr id="6" name="Foliennummernplatzhalter 5">
            <a:extLst>
              <a:ext uri="{FF2B5EF4-FFF2-40B4-BE49-F238E27FC236}">
                <a16:creationId xmlns:a16="http://schemas.microsoft.com/office/drawing/2014/main" id="{8F9BAF54-056F-ED4E-E5AC-38AE3E1FBF04}"/>
              </a:ext>
            </a:extLst>
          </p:cNvPr>
          <p:cNvSpPr>
            <a:spLocks noGrp="1"/>
          </p:cNvSpPr>
          <p:nvPr>
            <p:ph type="sldNum" sz="quarter" idx="17"/>
          </p:nvPr>
        </p:nvSpPr>
        <p:spPr/>
        <p:txBody>
          <a:bodyPr/>
          <a:lstStyle>
            <a:lvl1pPr>
              <a:defRPr>
                <a:solidFill>
                  <a:schemeClr val="bg1"/>
                </a:solidFill>
              </a:defRPr>
            </a:lvl1pPr>
          </a:lstStyle>
          <a:p>
            <a:r>
              <a:rPr lang="de-DE"/>
              <a:t>Seite </a:t>
            </a:r>
            <a:fld id="{63A738E5-7FE5-4F0E-80D4-9B95A408A0CB}" type="slidenum">
              <a:rPr lang="de-DE" smtClean="0"/>
              <a:pPr/>
              <a:t>‹Nr.›</a:t>
            </a:fld>
            <a:endParaRPr lang="de-DE" dirty="0"/>
          </a:p>
        </p:txBody>
      </p:sp>
    </p:spTree>
    <p:extLst>
      <p:ext uri="{BB962C8B-B14F-4D97-AF65-F5344CB8AC3E}">
        <p14:creationId xmlns:p14="http://schemas.microsoft.com/office/powerpoint/2010/main" val="38611599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chluss">
    <p:bg>
      <p:bgPr>
        <a:solidFill>
          <a:schemeClr val="tx1"/>
        </a:solidFill>
        <a:effectLst/>
      </p:bgPr>
    </p:bg>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9423D010-A3B9-7039-EA21-56726937B545}"/>
              </a:ext>
            </a:extLst>
          </p:cNvPr>
          <p:cNvGraphicFramePr>
            <a:graphicFrameLocks noChangeAspect="1"/>
          </p:cNvGraphicFramePr>
          <p:nvPr userDrawn="1">
            <p:custDataLst>
              <p:tags r:id="rId2"/>
            </p:custDataLst>
            <p:extLst>
              <p:ext uri="{D42A27DB-BD31-4B8C-83A1-F6EECF244321}">
                <p14:modId xmlns:p14="http://schemas.microsoft.com/office/powerpoint/2010/main" val="697897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8" name="think-cell Folie" r:id="rId6" imgW="592" imgH="591" progId="TCLayout.ActiveDocument.1">
                  <p:embed/>
                </p:oleObj>
              </mc:Choice>
              <mc:Fallback>
                <p:oleObj name="think-cell Folie" r:id="rId6" imgW="592" imgH="591" progId="TCLayout.ActiveDocument.1">
                  <p:embed/>
                  <p:pic>
                    <p:nvPicPr>
                      <p:cNvPr id="14" name="think-cell data - do not delete" hidden="1">
                        <a:extLst>
                          <a:ext uri="{FF2B5EF4-FFF2-40B4-BE49-F238E27FC236}">
                            <a16:creationId xmlns:a16="http://schemas.microsoft.com/office/drawing/2014/main" id="{9423D010-A3B9-7039-EA21-56726937B54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4" name="Bildplatzhalter 22">
            <a:extLst>
              <a:ext uri="{FF2B5EF4-FFF2-40B4-BE49-F238E27FC236}">
                <a16:creationId xmlns:a16="http://schemas.microsoft.com/office/drawing/2014/main" id="{073A642A-CED5-078E-30E4-9A81124F0343}"/>
              </a:ext>
            </a:extLst>
          </p:cNvPr>
          <p:cNvSpPr>
            <a:spLocks noGrp="1"/>
          </p:cNvSpPr>
          <p:nvPr>
            <p:ph type="pic" sz="quarter" idx="14"/>
          </p:nvPr>
        </p:nvSpPr>
        <p:spPr>
          <a:xfrm>
            <a:off x="6096000" y="0"/>
            <a:ext cx="6096000" cy="6858000"/>
          </a:xfrm>
          <a:blipFill>
            <a:blip r:embed="rId8"/>
            <a:stretch>
              <a:fillRect/>
            </a:stretch>
          </a:blipFill>
        </p:spPr>
        <p:txBody>
          <a:bodyPr/>
          <a:lstStyle>
            <a:lvl1pPr>
              <a:defRPr>
                <a:solidFill>
                  <a:schemeClr val="bg1"/>
                </a:solidFill>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AA85BDC5-E338-2798-3015-0493E7D8E11D}"/>
              </a:ext>
            </a:extLst>
          </p:cNvPr>
          <p:cNvSpPr>
            <a:spLocks noGrp="1"/>
          </p:cNvSpPr>
          <p:nvPr>
            <p:ph type="ctrTitle"/>
          </p:nvPr>
        </p:nvSpPr>
        <p:spPr>
          <a:xfrm>
            <a:off x="407990" y="335563"/>
            <a:ext cx="5328009" cy="969496"/>
          </a:xfrm>
        </p:spPr>
        <p:txBody>
          <a:bodyPr vert="horz" anchor="t"/>
          <a:lstStyle>
            <a:lvl1pPr algn="l">
              <a:defRPr sz="3500">
                <a:solidFill>
                  <a:schemeClr val="bg1"/>
                </a:solidFill>
              </a:defRPr>
            </a:lvl1pPr>
          </a:lstStyle>
          <a:p>
            <a:r>
              <a:rPr lang="de-DE"/>
              <a:t>Mastertitelformat bearbeiten</a:t>
            </a:r>
            <a:endParaRPr lang="en-US" dirty="0"/>
          </a:p>
        </p:txBody>
      </p:sp>
      <p:sp>
        <p:nvSpPr>
          <p:cNvPr id="3" name="Untertitel 2">
            <a:extLst>
              <a:ext uri="{FF2B5EF4-FFF2-40B4-BE49-F238E27FC236}">
                <a16:creationId xmlns:a16="http://schemas.microsoft.com/office/drawing/2014/main" id="{77CD5D4E-D25C-ACC3-DA5D-91886EEC9E7F}"/>
              </a:ext>
            </a:extLst>
          </p:cNvPr>
          <p:cNvSpPr>
            <a:spLocks noGrp="1"/>
          </p:cNvSpPr>
          <p:nvPr>
            <p:ph type="subTitle" idx="1"/>
          </p:nvPr>
        </p:nvSpPr>
        <p:spPr>
          <a:xfrm>
            <a:off x="407990" y="1977683"/>
            <a:ext cx="5328009" cy="1655762"/>
          </a:xfrm>
        </p:spPr>
        <p:txBody>
          <a:bodyPr/>
          <a:lstStyle>
            <a:lvl1pPr marL="0" indent="0" algn="l">
              <a:spcBef>
                <a:spcPts val="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grpSp>
        <p:nvGrpSpPr>
          <p:cNvPr id="22" name="Grafik 23">
            <a:extLst>
              <a:ext uri="{FF2B5EF4-FFF2-40B4-BE49-F238E27FC236}">
                <a16:creationId xmlns:a16="http://schemas.microsoft.com/office/drawing/2014/main" id="{4E752B44-9257-E045-0D76-82B15DC5C0CE}"/>
              </a:ext>
            </a:extLst>
          </p:cNvPr>
          <p:cNvGrpSpPr>
            <a:grpSpLocks noChangeAspect="1"/>
          </p:cNvGrpSpPr>
          <p:nvPr userDrawn="1"/>
        </p:nvGrpSpPr>
        <p:grpSpPr>
          <a:xfrm>
            <a:off x="407989" y="6387890"/>
            <a:ext cx="1296000" cy="223871"/>
            <a:chOff x="3042261" y="4495188"/>
            <a:chExt cx="3720761" cy="642716"/>
          </a:xfrm>
          <a:solidFill>
            <a:schemeClr val="bg1"/>
          </a:solidFill>
        </p:grpSpPr>
        <p:sp>
          <p:nvSpPr>
            <p:cNvPr id="23" name="Freihandform: Form 22">
              <a:extLst>
                <a:ext uri="{FF2B5EF4-FFF2-40B4-BE49-F238E27FC236}">
                  <a16:creationId xmlns:a16="http://schemas.microsoft.com/office/drawing/2014/main" id="{A6C53CC2-7BAD-29AA-A29A-2010FA9AF7AF}"/>
                </a:ext>
              </a:extLst>
            </p:cNvPr>
            <p:cNvSpPr/>
            <p:nvPr/>
          </p:nvSpPr>
          <p:spPr>
            <a:xfrm>
              <a:off x="3042261" y="4495188"/>
              <a:ext cx="450339" cy="638344"/>
            </a:xfrm>
            <a:custGeom>
              <a:avLst/>
              <a:gdLst>
                <a:gd name="connsiteX0" fmla="*/ 262333 w 450339"/>
                <a:gd name="connsiteY0" fmla="*/ 638345 h 638344"/>
                <a:gd name="connsiteX1" fmla="*/ 251403 w 450339"/>
                <a:gd name="connsiteY1" fmla="*/ 638345 h 638344"/>
                <a:gd name="connsiteX2" fmla="*/ 0 w 450339"/>
                <a:gd name="connsiteY2" fmla="*/ 638345 h 638344"/>
                <a:gd name="connsiteX3" fmla="*/ 0 w 450339"/>
                <a:gd name="connsiteY3" fmla="*/ 0 h 638344"/>
                <a:gd name="connsiteX4" fmla="*/ 266706 w 450339"/>
                <a:gd name="connsiteY4" fmla="*/ 0 h 638344"/>
                <a:gd name="connsiteX5" fmla="*/ 450339 w 450339"/>
                <a:gd name="connsiteY5" fmla="*/ 192378 h 638344"/>
                <a:gd name="connsiteX6" fmla="*/ 450339 w 450339"/>
                <a:gd name="connsiteY6" fmla="*/ 452525 h 638344"/>
                <a:gd name="connsiteX7" fmla="*/ 393500 w 450339"/>
                <a:gd name="connsiteY7" fmla="*/ 598995 h 638344"/>
                <a:gd name="connsiteX8" fmla="*/ 262333 w 450339"/>
                <a:gd name="connsiteY8" fmla="*/ 638345 h 638344"/>
                <a:gd name="connsiteX9" fmla="*/ 137725 w 450339"/>
                <a:gd name="connsiteY9" fmla="*/ 500620 h 638344"/>
                <a:gd name="connsiteX10" fmla="*/ 257961 w 450339"/>
                <a:gd name="connsiteY10" fmla="*/ 500620 h 638344"/>
                <a:gd name="connsiteX11" fmla="*/ 319172 w 450339"/>
                <a:gd name="connsiteY11" fmla="*/ 445967 h 638344"/>
                <a:gd name="connsiteX12" fmla="*/ 319172 w 450339"/>
                <a:gd name="connsiteY12" fmla="*/ 196750 h 638344"/>
                <a:gd name="connsiteX13" fmla="*/ 255775 w 450339"/>
                <a:gd name="connsiteY13" fmla="*/ 135539 h 638344"/>
                <a:gd name="connsiteX14" fmla="*/ 135539 w 450339"/>
                <a:gd name="connsiteY14" fmla="*/ 135539 h 638344"/>
                <a:gd name="connsiteX15" fmla="*/ 135539 w 450339"/>
                <a:gd name="connsiteY15" fmla="*/ 500620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339" h="638344">
                  <a:moveTo>
                    <a:pt x="262333" y="638345"/>
                  </a:moveTo>
                  <a:cubicBezTo>
                    <a:pt x="257961" y="638345"/>
                    <a:pt x="255775" y="638345"/>
                    <a:pt x="251403" y="638345"/>
                  </a:cubicBezTo>
                  <a:lnTo>
                    <a:pt x="0" y="638345"/>
                  </a:lnTo>
                  <a:lnTo>
                    <a:pt x="0" y="0"/>
                  </a:lnTo>
                  <a:lnTo>
                    <a:pt x="266706" y="0"/>
                  </a:lnTo>
                  <a:cubicBezTo>
                    <a:pt x="391314" y="0"/>
                    <a:pt x="450339" y="61211"/>
                    <a:pt x="450339" y="192378"/>
                  </a:cubicBezTo>
                  <a:lnTo>
                    <a:pt x="450339" y="452525"/>
                  </a:lnTo>
                  <a:cubicBezTo>
                    <a:pt x="450339" y="518108"/>
                    <a:pt x="430664" y="566203"/>
                    <a:pt x="393500" y="598995"/>
                  </a:cubicBezTo>
                  <a:cubicBezTo>
                    <a:pt x="362895" y="625228"/>
                    <a:pt x="319172" y="638345"/>
                    <a:pt x="262333" y="638345"/>
                  </a:cubicBezTo>
                  <a:close/>
                  <a:moveTo>
                    <a:pt x="137725" y="500620"/>
                  </a:moveTo>
                  <a:lnTo>
                    <a:pt x="257961" y="500620"/>
                  </a:lnTo>
                  <a:cubicBezTo>
                    <a:pt x="288567" y="500620"/>
                    <a:pt x="314800" y="478758"/>
                    <a:pt x="319172" y="445967"/>
                  </a:cubicBezTo>
                  <a:lnTo>
                    <a:pt x="319172" y="196750"/>
                  </a:lnTo>
                  <a:cubicBezTo>
                    <a:pt x="319172" y="163958"/>
                    <a:pt x="290753" y="135539"/>
                    <a:pt x="255775" y="135539"/>
                  </a:cubicBezTo>
                  <a:lnTo>
                    <a:pt x="135539" y="135539"/>
                  </a:lnTo>
                  <a:lnTo>
                    <a:pt x="135539" y="500620"/>
                  </a:lnTo>
                  <a:close/>
                </a:path>
              </a:pathLst>
            </a:custGeom>
            <a:grpFill/>
            <a:ln w="21819" cap="flat">
              <a:noFill/>
              <a:prstDash val="solid"/>
              <a:miter/>
            </a:ln>
          </p:spPr>
          <p:txBody>
            <a:bodyPr rtlCol="0" anchor="ctr"/>
            <a:lstStyle/>
            <a:p>
              <a:endParaRPr lang="de-DE"/>
            </a:p>
          </p:txBody>
        </p:sp>
        <p:sp>
          <p:nvSpPr>
            <p:cNvPr id="24" name="Freihandform: Form 23">
              <a:extLst>
                <a:ext uri="{FF2B5EF4-FFF2-40B4-BE49-F238E27FC236}">
                  <a16:creationId xmlns:a16="http://schemas.microsoft.com/office/drawing/2014/main" id="{31A9B081-97C2-20F7-6A5C-7C4D15054E6D}"/>
                </a:ext>
              </a:extLst>
            </p:cNvPr>
            <p:cNvSpPr/>
            <p:nvPr/>
          </p:nvSpPr>
          <p:spPr>
            <a:xfrm>
              <a:off x="3612836" y="4495188"/>
              <a:ext cx="461269" cy="638344"/>
            </a:xfrm>
            <a:custGeom>
              <a:avLst/>
              <a:gdLst>
                <a:gd name="connsiteX0" fmla="*/ 461269 w 461269"/>
                <a:gd name="connsiteY0" fmla="*/ 638345 h 638344"/>
                <a:gd name="connsiteX1" fmla="*/ 323544 w 461269"/>
                <a:gd name="connsiteY1" fmla="*/ 638345 h 638344"/>
                <a:gd name="connsiteX2" fmla="*/ 323544 w 461269"/>
                <a:gd name="connsiteY2" fmla="*/ 487503 h 638344"/>
                <a:gd name="connsiteX3" fmla="*/ 137725 w 461269"/>
                <a:gd name="connsiteY3" fmla="*/ 487503 h 638344"/>
                <a:gd name="connsiteX4" fmla="*/ 137725 w 461269"/>
                <a:gd name="connsiteY4" fmla="*/ 638345 h 638344"/>
                <a:gd name="connsiteX5" fmla="*/ 0 w 461269"/>
                <a:gd name="connsiteY5" fmla="*/ 638345 h 638344"/>
                <a:gd name="connsiteX6" fmla="*/ 0 w 461269"/>
                <a:gd name="connsiteY6" fmla="*/ 188006 h 638344"/>
                <a:gd name="connsiteX7" fmla="*/ 190192 w 461269"/>
                <a:gd name="connsiteY7" fmla="*/ 0 h 638344"/>
                <a:gd name="connsiteX8" fmla="*/ 268892 w 461269"/>
                <a:gd name="connsiteY8" fmla="*/ 0 h 638344"/>
                <a:gd name="connsiteX9" fmla="*/ 461269 w 461269"/>
                <a:gd name="connsiteY9" fmla="*/ 192378 h 638344"/>
                <a:gd name="connsiteX10" fmla="*/ 461269 w 461269"/>
                <a:gd name="connsiteY10" fmla="*/ 638345 h 638344"/>
                <a:gd name="connsiteX11" fmla="*/ 137725 w 461269"/>
                <a:gd name="connsiteY11" fmla="*/ 351964 h 638344"/>
                <a:gd name="connsiteX12" fmla="*/ 323544 w 461269"/>
                <a:gd name="connsiteY12" fmla="*/ 351964 h 638344"/>
                <a:gd name="connsiteX13" fmla="*/ 323544 w 461269"/>
                <a:gd name="connsiteY13" fmla="*/ 201122 h 638344"/>
                <a:gd name="connsiteX14" fmla="*/ 262333 w 461269"/>
                <a:gd name="connsiteY14" fmla="*/ 135539 h 638344"/>
                <a:gd name="connsiteX15" fmla="*/ 198936 w 461269"/>
                <a:gd name="connsiteY15" fmla="*/ 135539 h 638344"/>
                <a:gd name="connsiteX16" fmla="*/ 137725 w 461269"/>
                <a:gd name="connsiteY16" fmla="*/ 194564 h 638344"/>
                <a:gd name="connsiteX17" fmla="*/ 137725 w 461269"/>
                <a:gd name="connsiteY17" fmla="*/ 351964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61269" h="638344">
                  <a:moveTo>
                    <a:pt x="461269" y="638345"/>
                  </a:moveTo>
                  <a:lnTo>
                    <a:pt x="323544" y="638345"/>
                  </a:lnTo>
                  <a:lnTo>
                    <a:pt x="323544" y="487503"/>
                  </a:lnTo>
                  <a:lnTo>
                    <a:pt x="137725" y="487503"/>
                  </a:lnTo>
                  <a:lnTo>
                    <a:pt x="137725" y="638345"/>
                  </a:lnTo>
                  <a:lnTo>
                    <a:pt x="0" y="638345"/>
                  </a:lnTo>
                  <a:lnTo>
                    <a:pt x="0" y="188006"/>
                  </a:lnTo>
                  <a:cubicBezTo>
                    <a:pt x="0" y="61211"/>
                    <a:pt x="63397" y="0"/>
                    <a:pt x="190192" y="0"/>
                  </a:cubicBezTo>
                  <a:lnTo>
                    <a:pt x="268892" y="0"/>
                  </a:lnTo>
                  <a:cubicBezTo>
                    <a:pt x="397872" y="0"/>
                    <a:pt x="461269" y="63397"/>
                    <a:pt x="461269" y="192378"/>
                  </a:cubicBezTo>
                  <a:lnTo>
                    <a:pt x="461269" y="638345"/>
                  </a:lnTo>
                  <a:close/>
                  <a:moveTo>
                    <a:pt x="137725" y="351964"/>
                  </a:moveTo>
                  <a:lnTo>
                    <a:pt x="323544" y="351964"/>
                  </a:lnTo>
                  <a:lnTo>
                    <a:pt x="323544" y="201122"/>
                  </a:lnTo>
                  <a:cubicBezTo>
                    <a:pt x="323544" y="163958"/>
                    <a:pt x="295125" y="135539"/>
                    <a:pt x="262333" y="135539"/>
                  </a:cubicBezTo>
                  <a:lnTo>
                    <a:pt x="198936" y="135539"/>
                  </a:lnTo>
                  <a:cubicBezTo>
                    <a:pt x="163958" y="135539"/>
                    <a:pt x="137725" y="161772"/>
                    <a:pt x="137725" y="194564"/>
                  </a:cubicBezTo>
                  <a:lnTo>
                    <a:pt x="137725" y="351964"/>
                  </a:lnTo>
                  <a:close/>
                </a:path>
              </a:pathLst>
            </a:custGeom>
            <a:grpFill/>
            <a:ln w="21819" cap="flat">
              <a:noFill/>
              <a:prstDash val="solid"/>
              <a:miter/>
            </a:ln>
          </p:spPr>
          <p:txBody>
            <a:bodyPr rtlCol="0" anchor="ctr"/>
            <a:lstStyle/>
            <a:p>
              <a:endParaRPr lang="de-DE"/>
            </a:p>
          </p:txBody>
        </p:sp>
        <p:sp>
          <p:nvSpPr>
            <p:cNvPr id="25" name="Freihandform: Form 24">
              <a:extLst>
                <a:ext uri="{FF2B5EF4-FFF2-40B4-BE49-F238E27FC236}">
                  <a16:creationId xmlns:a16="http://schemas.microsoft.com/office/drawing/2014/main" id="{6C07CA86-CC65-AF69-8C6B-50AC00EAE161}"/>
                </a:ext>
              </a:extLst>
            </p:cNvPr>
            <p:cNvSpPr/>
            <p:nvPr/>
          </p:nvSpPr>
          <p:spPr>
            <a:xfrm>
              <a:off x="4205272" y="4495188"/>
              <a:ext cx="327916" cy="638344"/>
            </a:xfrm>
            <a:custGeom>
              <a:avLst/>
              <a:gdLst>
                <a:gd name="connsiteX0" fmla="*/ 327917 w 327916"/>
                <a:gd name="connsiteY0" fmla="*/ 638345 h 638344"/>
                <a:gd name="connsiteX1" fmla="*/ 0 w 327916"/>
                <a:gd name="connsiteY1" fmla="*/ 638345 h 638344"/>
                <a:gd name="connsiteX2" fmla="*/ 0 w 327916"/>
                <a:gd name="connsiteY2" fmla="*/ 0 h 638344"/>
                <a:gd name="connsiteX3" fmla="*/ 137725 w 327916"/>
                <a:gd name="connsiteY3" fmla="*/ 0 h 638344"/>
                <a:gd name="connsiteX4" fmla="*/ 137725 w 327916"/>
                <a:gd name="connsiteY4" fmla="*/ 500620 h 638344"/>
                <a:gd name="connsiteX5" fmla="*/ 327917 w 327916"/>
                <a:gd name="connsiteY5" fmla="*/ 500620 h 638344"/>
                <a:gd name="connsiteX6" fmla="*/ 327917 w 327916"/>
                <a:gd name="connsiteY6" fmla="*/ 638345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916" h="638344">
                  <a:moveTo>
                    <a:pt x="327917" y="638345"/>
                  </a:moveTo>
                  <a:lnTo>
                    <a:pt x="0" y="638345"/>
                  </a:lnTo>
                  <a:lnTo>
                    <a:pt x="0" y="0"/>
                  </a:lnTo>
                  <a:lnTo>
                    <a:pt x="137725" y="0"/>
                  </a:lnTo>
                  <a:lnTo>
                    <a:pt x="137725" y="500620"/>
                  </a:lnTo>
                  <a:lnTo>
                    <a:pt x="327917" y="500620"/>
                  </a:lnTo>
                  <a:lnTo>
                    <a:pt x="327917" y="638345"/>
                  </a:lnTo>
                  <a:close/>
                </a:path>
              </a:pathLst>
            </a:custGeom>
            <a:grpFill/>
            <a:ln w="21819"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AF03A757-4A87-6815-B48B-65B9C776377A}"/>
                </a:ext>
              </a:extLst>
            </p:cNvPr>
            <p:cNvSpPr/>
            <p:nvPr/>
          </p:nvSpPr>
          <p:spPr>
            <a:xfrm>
              <a:off x="4627192" y="4495188"/>
              <a:ext cx="327916" cy="638344"/>
            </a:xfrm>
            <a:custGeom>
              <a:avLst/>
              <a:gdLst>
                <a:gd name="connsiteX0" fmla="*/ 325730 w 327916"/>
                <a:gd name="connsiteY0" fmla="*/ 638345 h 638344"/>
                <a:gd name="connsiteX1" fmla="*/ 0 w 327916"/>
                <a:gd name="connsiteY1" fmla="*/ 638345 h 638344"/>
                <a:gd name="connsiteX2" fmla="*/ 0 w 327916"/>
                <a:gd name="connsiteY2" fmla="*/ 0 h 638344"/>
                <a:gd name="connsiteX3" fmla="*/ 137725 w 327916"/>
                <a:gd name="connsiteY3" fmla="*/ 0 h 638344"/>
                <a:gd name="connsiteX4" fmla="*/ 137725 w 327916"/>
                <a:gd name="connsiteY4" fmla="*/ 500620 h 638344"/>
                <a:gd name="connsiteX5" fmla="*/ 327917 w 327916"/>
                <a:gd name="connsiteY5" fmla="*/ 500620 h 638344"/>
                <a:gd name="connsiteX6" fmla="*/ 327917 w 327916"/>
                <a:gd name="connsiteY6" fmla="*/ 638345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916" h="638344">
                  <a:moveTo>
                    <a:pt x="325730" y="638345"/>
                  </a:moveTo>
                  <a:lnTo>
                    <a:pt x="0" y="638345"/>
                  </a:lnTo>
                  <a:lnTo>
                    <a:pt x="0" y="0"/>
                  </a:lnTo>
                  <a:lnTo>
                    <a:pt x="137725" y="0"/>
                  </a:lnTo>
                  <a:lnTo>
                    <a:pt x="137725" y="500620"/>
                  </a:lnTo>
                  <a:lnTo>
                    <a:pt x="327917" y="500620"/>
                  </a:lnTo>
                  <a:lnTo>
                    <a:pt x="327917" y="638345"/>
                  </a:lnTo>
                  <a:close/>
                </a:path>
              </a:pathLst>
            </a:custGeom>
            <a:grpFill/>
            <a:ln w="21819" cap="flat">
              <a:noFill/>
              <a:prstDash val="solid"/>
              <a:miter/>
            </a:ln>
          </p:spPr>
          <p:txBody>
            <a:bodyPr rtlCol="0" anchor="ctr"/>
            <a:lstStyle/>
            <a:p>
              <a:endParaRPr lang="de-DE"/>
            </a:p>
          </p:txBody>
        </p:sp>
        <p:sp>
          <p:nvSpPr>
            <p:cNvPr id="27" name="Freihandform: Form 26">
              <a:extLst>
                <a:ext uri="{FF2B5EF4-FFF2-40B4-BE49-F238E27FC236}">
                  <a16:creationId xmlns:a16="http://schemas.microsoft.com/office/drawing/2014/main" id="{7EA6662F-D9A6-E4FF-5F1E-90BEE28F5DEE}"/>
                </a:ext>
              </a:extLst>
            </p:cNvPr>
            <p:cNvSpPr/>
            <p:nvPr/>
          </p:nvSpPr>
          <p:spPr>
            <a:xfrm>
              <a:off x="5849228" y="4495188"/>
              <a:ext cx="349777" cy="638344"/>
            </a:xfrm>
            <a:custGeom>
              <a:avLst/>
              <a:gdLst>
                <a:gd name="connsiteX0" fmla="*/ 349778 w 349777"/>
                <a:gd name="connsiteY0" fmla="*/ 638345 h 638344"/>
                <a:gd name="connsiteX1" fmla="*/ 0 w 349777"/>
                <a:gd name="connsiteY1" fmla="*/ 638345 h 638344"/>
                <a:gd name="connsiteX2" fmla="*/ 0 w 349777"/>
                <a:gd name="connsiteY2" fmla="*/ 0 h 638344"/>
                <a:gd name="connsiteX3" fmla="*/ 349778 w 349777"/>
                <a:gd name="connsiteY3" fmla="*/ 0 h 638344"/>
                <a:gd name="connsiteX4" fmla="*/ 349778 w 349777"/>
                <a:gd name="connsiteY4" fmla="*/ 137725 h 638344"/>
                <a:gd name="connsiteX5" fmla="*/ 137725 w 349777"/>
                <a:gd name="connsiteY5" fmla="*/ 137725 h 638344"/>
                <a:gd name="connsiteX6" fmla="*/ 137725 w 349777"/>
                <a:gd name="connsiteY6" fmla="*/ 251403 h 638344"/>
                <a:gd name="connsiteX7" fmla="*/ 349778 w 349777"/>
                <a:gd name="connsiteY7" fmla="*/ 251403 h 638344"/>
                <a:gd name="connsiteX8" fmla="*/ 349778 w 349777"/>
                <a:gd name="connsiteY8" fmla="*/ 389128 h 638344"/>
                <a:gd name="connsiteX9" fmla="*/ 137725 w 349777"/>
                <a:gd name="connsiteY9" fmla="*/ 389128 h 638344"/>
                <a:gd name="connsiteX10" fmla="*/ 137725 w 349777"/>
                <a:gd name="connsiteY10" fmla="*/ 500620 h 638344"/>
                <a:gd name="connsiteX11" fmla="*/ 349778 w 349777"/>
                <a:gd name="connsiteY11" fmla="*/ 500620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9777" h="638344">
                  <a:moveTo>
                    <a:pt x="349778" y="638345"/>
                  </a:moveTo>
                  <a:lnTo>
                    <a:pt x="0" y="638345"/>
                  </a:lnTo>
                  <a:lnTo>
                    <a:pt x="0" y="0"/>
                  </a:lnTo>
                  <a:lnTo>
                    <a:pt x="349778" y="0"/>
                  </a:lnTo>
                  <a:lnTo>
                    <a:pt x="349778" y="137725"/>
                  </a:lnTo>
                  <a:lnTo>
                    <a:pt x="137725" y="137725"/>
                  </a:lnTo>
                  <a:lnTo>
                    <a:pt x="137725" y="251403"/>
                  </a:lnTo>
                  <a:lnTo>
                    <a:pt x="349778" y="251403"/>
                  </a:lnTo>
                  <a:lnTo>
                    <a:pt x="349778" y="389128"/>
                  </a:lnTo>
                  <a:lnTo>
                    <a:pt x="137725" y="389128"/>
                  </a:lnTo>
                  <a:lnTo>
                    <a:pt x="137725" y="500620"/>
                  </a:lnTo>
                  <a:lnTo>
                    <a:pt x="349778" y="500620"/>
                  </a:lnTo>
                  <a:close/>
                </a:path>
              </a:pathLst>
            </a:custGeom>
            <a:grpFill/>
            <a:ln w="21819"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CEF51744-D32D-3344-734E-CC6EDA2B7051}"/>
                </a:ext>
              </a:extLst>
            </p:cNvPr>
            <p:cNvSpPr/>
            <p:nvPr/>
          </p:nvSpPr>
          <p:spPr>
            <a:xfrm>
              <a:off x="6321428" y="4495188"/>
              <a:ext cx="441594" cy="638344"/>
            </a:xfrm>
            <a:custGeom>
              <a:avLst/>
              <a:gdLst>
                <a:gd name="connsiteX0" fmla="*/ 439408 w 441594"/>
                <a:gd name="connsiteY0" fmla="*/ 450339 h 638344"/>
                <a:gd name="connsiteX1" fmla="*/ 391314 w 441594"/>
                <a:gd name="connsiteY1" fmla="*/ 360708 h 638344"/>
                <a:gd name="connsiteX2" fmla="*/ 439408 w 441594"/>
                <a:gd name="connsiteY2" fmla="*/ 273264 h 638344"/>
                <a:gd name="connsiteX3" fmla="*/ 439408 w 441594"/>
                <a:gd name="connsiteY3" fmla="*/ 179261 h 638344"/>
                <a:gd name="connsiteX4" fmla="*/ 266706 w 441594"/>
                <a:gd name="connsiteY4" fmla="*/ 0 h 638344"/>
                <a:gd name="connsiteX5" fmla="*/ 0 w 441594"/>
                <a:gd name="connsiteY5" fmla="*/ 0 h 638344"/>
                <a:gd name="connsiteX6" fmla="*/ 0 w 441594"/>
                <a:gd name="connsiteY6" fmla="*/ 638345 h 638344"/>
                <a:gd name="connsiteX7" fmla="*/ 137725 w 441594"/>
                <a:gd name="connsiteY7" fmla="*/ 638345 h 638344"/>
                <a:gd name="connsiteX8" fmla="*/ 137725 w 441594"/>
                <a:gd name="connsiteY8" fmla="*/ 435036 h 638344"/>
                <a:gd name="connsiteX9" fmla="*/ 251403 w 441594"/>
                <a:gd name="connsiteY9" fmla="*/ 435036 h 638344"/>
                <a:gd name="connsiteX10" fmla="*/ 314800 w 441594"/>
                <a:gd name="connsiteY10" fmla="*/ 500620 h 638344"/>
                <a:gd name="connsiteX11" fmla="*/ 314800 w 441594"/>
                <a:gd name="connsiteY11" fmla="*/ 638345 h 638344"/>
                <a:gd name="connsiteX12" fmla="*/ 441594 w 441594"/>
                <a:gd name="connsiteY12" fmla="*/ 638345 h 638344"/>
                <a:gd name="connsiteX13" fmla="*/ 439408 w 441594"/>
                <a:gd name="connsiteY13" fmla="*/ 450339 h 638344"/>
                <a:gd name="connsiteX14" fmla="*/ 312614 w 441594"/>
                <a:gd name="connsiteY14" fmla="*/ 244844 h 638344"/>
                <a:gd name="connsiteX15" fmla="*/ 251403 w 441594"/>
                <a:gd name="connsiteY15" fmla="*/ 306056 h 638344"/>
                <a:gd name="connsiteX16" fmla="*/ 137725 w 441594"/>
                <a:gd name="connsiteY16" fmla="*/ 306056 h 638344"/>
                <a:gd name="connsiteX17" fmla="*/ 137725 w 441594"/>
                <a:gd name="connsiteY17" fmla="*/ 135539 h 638344"/>
                <a:gd name="connsiteX18" fmla="*/ 251403 w 441594"/>
                <a:gd name="connsiteY18" fmla="*/ 135539 h 638344"/>
                <a:gd name="connsiteX19" fmla="*/ 314800 w 441594"/>
                <a:gd name="connsiteY19" fmla="*/ 196750 h 638344"/>
                <a:gd name="connsiteX20" fmla="*/ 314800 w 441594"/>
                <a:gd name="connsiteY20" fmla="*/ 244844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41594" h="638344">
                  <a:moveTo>
                    <a:pt x="439408" y="450339"/>
                  </a:moveTo>
                  <a:cubicBezTo>
                    <a:pt x="439408" y="395686"/>
                    <a:pt x="406617" y="369453"/>
                    <a:pt x="391314" y="360708"/>
                  </a:cubicBezTo>
                  <a:cubicBezTo>
                    <a:pt x="408803" y="349778"/>
                    <a:pt x="439408" y="323545"/>
                    <a:pt x="439408" y="273264"/>
                  </a:cubicBezTo>
                  <a:cubicBezTo>
                    <a:pt x="439408" y="238286"/>
                    <a:pt x="439408" y="179261"/>
                    <a:pt x="439408" y="179261"/>
                  </a:cubicBezTo>
                  <a:cubicBezTo>
                    <a:pt x="439408" y="26233"/>
                    <a:pt x="384755" y="0"/>
                    <a:pt x="266706" y="0"/>
                  </a:cubicBezTo>
                  <a:lnTo>
                    <a:pt x="0" y="0"/>
                  </a:lnTo>
                  <a:lnTo>
                    <a:pt x="0" y="638345"/>
                  </a:lnTo>
                  <a:lnTo>
                    <a:pt x="137725" y="638345"/>
                  </a:lnTo>
                  <a:lnTo>
                    <a:pt x="137725" y="435036"/>
                  </a:lnTo>
                  <a:lnTo>
                    <a:pt x="251403" y="435036"/>
                  </a:lnTo>
                  <a:cubicBezTo>
                    <a:pt x="301683" y="435036"/>
                    <a:pt x="314800" y="459083"/>
                    <a:pt x="314800" y="500620"/>
                  </a:cubicBezTo>
                  <a:lnTo>
                    <a:pt x="314800" y="638345"/>
                  </a:lnTo>
                  <a:lnTo>
                    <a:pt x="441594" y="638345"/>
                  </a:lnTo>
                  <a:lnTo>
                    <a:pt x="439408" y="450339"/>
                  </a:lnTo>
                  <a:close/>
                  <a:moveTo>
                    <a:pt x="312614" y="244844"/>
                  </a:moveTo>
                  <a:cubicBezTo>
                    <a:pt x="312614" y="277636"/>
                    <a:pt x="284195" y="306056"/>
                    <a:pt x="251403" y="306056"/>
                  </a:cubicBezTo>
                  <a:lnTo>
                    <a:pt x="137725" y="306056"/>
                  </a:lnTo>
                  <a:lnTo>
                    <a:pt x="137725" y="135539"/>
                  </a:lnTo>
                  <a:lnTo>
                    <a:pt x="251403" y="135539"/>
                  </a:lnTo>
                  <a:cubicBezTo>
                    <a:pt x="290753" y="135539"/>
                    <a:pt x="314800" y="166144"/>
                    <a:pt x="314800" y="196750"/>
                  </a:cubicBezTo>
                  <a:lnTo>
                    <a:pt x="314800" y="244844"/>
                  </a:lnTo>
                  <a:close/>
                </a:path>
              </a:pathLst>
            </a:custGeom>
            <a:grpFill/>
            <a:ln w="21819"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D7F20FC5-F85D-39CE-C9D3-9D4BBA9B292D}"/>
                </a:ext>
              </a:extLst>
            </p:cNvPr>
            <p:cNvSpPr/>
            <p:nvPr/>
          </p:nvSpPr>
          <p:spPr>
            <a:xfrm>
              <a:off x="5055670" y="4495188"/>
              <a:ext cx="675508" cy="642716"/>
            </a:xfrm>
            <a:custGeom>
              <a:avLst/>
              <a:gdLst>
                <a:gd name="connsiteX0" fmla="*/ 489689 w 675508"/>
                <a:gd name="connsiteY0" fmla="*/ 0 h 642716"/>
                <a:gd name="connsiteX1" fmla="*/ 424106 w 675508"/>
                <a:gd name="connsiteY1" fmla="*/ 0 h 642716"/>
                <a:gd name="connsiteX2" fmla="*/ 334475 w 675508"/>
                <a:gd name="connsiteY2" fmla="*/ 48094 h 642716"/>
                <a:gd name="connsiteX3" fmla="*/ 247031 w 675508"/>
                <a:gd name="connsiteY3" fmla="*/ 0 h 642716"/>
                <a:gd name="connsiteX4" fmla="*/ 181447 w 675508"/>
                <a:gd name="connsiteY4" fmla="*/ 0 h 642716"/>
                <a:gd name="connsiteX5" fmla="*/ 0 w 675508"/>
                <a:gd name="connsiteY5" fmla="*/ 192378 h 642716"/>
                <a:gd name="connsiteX6" fmla="*/ 0 w 675508"/>
                <a:gd name="connsiteY6" fmla="*/ 640531 h 642716"/>
                <a:gd name="connsiteX7" fmla="*/ 135539 w 675508"/>
                <a:gd name="connsiteY7" fmla="*/ 640531 h 642716"/>
                <a:gd name="connsiteX8" fmla="*/ 135539 w 675508"/>
                <a:gd name="connsiteY8" fmla="*/ 177075 h 642716"/>
                <a:gd name="connsiteX9" fmla="*/ 139911 w 675508"/>
                <a:gd name="connsiteY9" fmla="*/ 155214 h 642716"/>
                <a:gd name="connsiteX10" fmla="*/ 155214 w 675508"/>
                <a:gd name="connsiteY10" fmla="*/ 150842 h 642716"/>
                <a:gd name="connsiteX11" fmla="*/ 249217 w 675508"/>
                <a:gd name="connsiteY11" fmla="*/ 150842 h 642716"/>
                <a:gd name="connsiteX12" fmla="*/ 264519 w 675508"/>
                <a:gd name="connsiteY12" fmla="*/ 155214 h 642716"/>
                <a:gd name="connsiteX13" fmla="*/ 268892 w 675508"/>
                <a:gd name="connsiteY13" fmla="*/ 179261 h 642716"/>
                <a:gd name="connsiteX14" fmla="*/ 268892 w 675508"/>
                <a:gd name="connsiteY14" fmla="*/ 642717 h 642716"/>
                <a:gd name="connsiteX15" fmla="*/ 268892 w 675508"/>
                <a:gd name="connsiteY15" fmla="*/ 642717 h 642716"/>
                <a:gd name="connsiteX16" fmla="*/ 406617 w 675508"/>
                <a:gd name="connsiteY16" fmla="*/ 642717 h 642716"/>
                <a:gd name="connsiteX17" fmla="*/ 406617 w 675508"/>
                <a:gd name="connsiteY17" fmla="*/ 179261 h 642716"/>
                <a:gd name="connsiteX18" fmla="*/ 410989 w 675508"/>
                <a:gd name="connsiteY18" fmla="*/ 155214 h 642716"/>
                <a:gd name="connsiteX19" fmla="*/ 426292 w 675508"/>
                <a:gd name="connsiteY19" fmla="*/ 150842 h 642716"/>
                <a:gd name="connsiteX20" fmla="*/ 520294 w 675508"/>
                <a:gd name="connsiteY20" fmla="*/ 150842 h 642716"/>
                <a:gd name="connsiteX21" fmla="*/ 535597 w 675508"/>
                <a:gd name="connsiteY21" fmla="*/ 155214 h 642716"/>
                <a:gd name="connsiteX22" fmla="*/ 539970 w 675508"/>
                <a:gd name="connsiteY22" fmla="*/ 177075 h 642716"/>
                <a:gd name="connsiteX23" fmla="*/ 539970 w 675508"/>
                <a:gd name="connsiteY23" fmla="*/ 640531 h 642716"/>
                <a:gd name="connsiteX24" fmla="*/ 675509 w 675508"/>
                <a:gd name="connsiteY24" fmla="*/ 640531 h 642716"/>
                <a:gd name="connsiteX25" fmla="*/ 675509 w 675508"/>
                <a:gd name="connsiteY25" fmla="*/ 192378 h 642716"/>
                <a:gd name="connsiteX26" fmla="*/ 489689 w 675508"/>
                <a:gd name="connsiteY26" fmla="*/ 0 h 642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5508" h="642716">
                  <a:moveTo>
                    <a:pt x="489689" y="0"/>
                  </a:moveTo>
                  <a:lnTo>
                    <a:pt x="424106" y="0"/>
                  </a:lnTo>
                  <a:cubicBezTo>
                    <a:pt x="369453" y="0"/>
                    <a:pt x="343220" y="32792"/>
                    <a:pt x="334475" y="48094"/>
                  </a:cubicBezTo>
                  <a:cubicBezTo>
                    <a:pt x="323544" y="30606"/>
                    <a:pt x="297311" y="0"/>
                    <a:pt x="247031" y="0"/>
                  </a:cubicBezTo>
                  <a:lnTo>
                    <a:pt x="181447" y="0"/>
                  </a:lnTo>
                  <a:cubicBezTo>
                    <a:pt x="43722" y="0"/>
                    <a:pt x="0" y="26233"/>
                    <a:pt x="0" y="192378"/>
                  </a:cubicBezTo>
                  <a:lnTo>
                    <a:pt x="0" y="640531"/>
                  </a:lnTo>
                  <a:lnTo>
                    <a:pt x="135539" y="640531"/>
                  </a:lnTo>
                  <a:lnTo>
                    <a:pt x="135539" y="177075"/>
                  </a:lnTo>
                  <a:cubicBezTo>
                    <a:pt x="135539" y="163958"/>
                    <a:pt x="135539" y="157400"/>
                    <a:pt x="139911" y="155214"/>
                  </a:cubicBezTo>
                  <a:cubicBezTo>
                    <a:pt x="142097" y="153028"/>
                    <a:pt x="148655" y="150842"/>
                    <a:pt x="155214" y="150842"/>
                  </a:cubicBezTo>
                  <a:lnTo>
                    <a:pt x="249217" y="150842"/>
                  </a:lnTo>
                  <a:cubicBezTo>
                    <a:pt x="255775" y="150842"/>
                    <a:pt x="260147" y="150842"/>
                    <a:pt x="264519" y="155214"/>
                  </a:cubicBezTo>
                  <a:cubicBezTo>
                    <a:pt x="268892" y="159586"/>
                    <a:pt x="268892" y="163958"/>
                    <a:pt x="268892" y="179261"/>
                  </a:cubicBezTo>
                  <a:lnTo>
                    <a:pt x="268892" y="642717"/>
                  </a:lnTo>
                  <a:lnTo>
                    <a:pt x="268892" y="642717"/>
                  </a:lnTo>
                  <a:lnTo>
                    <a:pt x="406617" y="642717"/>
                  </a:lnTo>
                  <a:lnTo>
                    <a:pt x="406617" y="179261"/>
                  </a:lnTo>
                  <a:cubicBezTo>
                    <a:pt x="406617" y="166144"/>
                    <a:pt x="406617" y="159586"/>
                    <a:pt x="410989" y="155214"/>
                  </a:cubicBezTo>
                  <a:cubicBezTo>
                    <a:pt x="413175" y="153028"/>
                    <a:pt x="419734" y="150842"/>
                    <a:pt x="426292" y="150842"/>
                  </a:cubicBezTo>
                  <a:lnTo>
                    <a:pt x="520294" y="150842"/>
                  </a:lnTo>
                  <a:cubicBezTo>
                    <a:pt x="526853" y="150842"/>
                    <a:pt x="533411" y="150842"/>
                    <a:pt x="535597" y="155214"/>
                  </a:cubicBezTo>
                  <a:cubicBezTo>
                    <a:pt x="539970" y="159586"/>
                    <a:pt x="539970" y="163958"/>
                    <a:pt x="539970" y="177075"/>
                  </a:cubicBezTo>
                  <a:lnTo>
                    <a:pt x="539970" y="640531"/>
                  </a:lnTo>
                  <a:lnTo>
                    <a:pt x="675509" y="640531"/>
                  </a:lnTo>
                  <a:lnTo>
                    <a:pt x="675509" y="192378"/>
                  </a:lnTo>
                  <a:cubicBezTo>
                    <a:pt x="671136" y="26233"/>
                    <a:pt x="627414" y="0"/>
                    <a:pt x="489689" y="0"/>
                  </a:cubicBezTo>
                  <a:close/>
                </a:path>
              </a:pathLst>
            </a:custGeom>
            <a:grpFill/>
            <a:ln w="21819" cap="flat">
              <a:noFill/>
              <a:prstDash val="solid"/>
              <a:miter/>
            </a:ln>
          </p:spPr>
          <p:txBody>
            <a:bodyPr rtlCol="0" anchor="ctr"/>
            <a:lstStyle/>
            <a:p>
              <a:endParaRPr lang="de-DE"/>
            </a:p>
          </p:txBody>
        </p:sp>
      </p:grpSp>
      <p:sp>
        <p:nvSpPr>
          <p:cNvPr id="4" name="object 4">
            <a:extLst>
              <a:ext uri="{FF2B5EF4-FFF2-40B4-BE49-F238E27FC236}">
                <a16:creationId xmlns:a16="http://schemas.microsoft.com/office/drawing/2014/main" id="{E5115A5B-63BD-A241-938F-35F3A7568747}"/>
              </a:ext>
            </a:extLst>
          </p:cNvPr>
          <p:cNvSpPr txBox="1"/>
          <p:nvPr userDrawn="1">
            <p:custDataLst>
              <p:tags r:id="rId3"/>
            </p:custDataLst>
          </p:nvPr>
        </p:nvSpPr>
        <p:spPr>
          <a:xfrm>
            <a:off x="408768" y="4944978"/>
            <a:ext cx="3186616" cy="499651"/>
          </a:xfrm>
          <a:prstGeom prst="rect">
            <a:avLst/>
          </a:prstGeom>
        </p:spPr>
        <p:txBody>
          <a:bodyPr vert="horz" wrap="square" lIns="0" tIns="2545" rIns="0" bIns="0" rtlCol="0">
            <a:spAutoFit/>
          </a:bodyPr>
          <a:lstStyle/>
          <a:p>
            <a:pPr marL="12724" marR="5090">
              <a:lnSpc>
                <a:spcPct val="104200"/>
              </a:lnSpc>
              <a:spcBef>
                <a:spcPts val="20"/>
              </a:spcBef>
            </a:pPr>
            <a:r>
              <a:rPr sz="1603" spc="0" dirty="0">
                <a:solidFill>
                  <a:srgbClr val="FFFFFF"/>
                </a:solidFill>
                <a:latin typeface="+mn-lt"/>
                <a:cs typeface="+mn-cs"/>
              </a:rPr>
              <a:t>Mehr Infos und aktuelle Termine finden Sie unter </a:t>
            </a:r>
            <a:r>
              <a:rPr sz="1603" spc="0" dirty="0">
                <a:solidFill>
                  <a:schemeClr val="bg1"/>
                </a:solidFill>
                <a:latin typeface="+mn-lt"/>
                <a:cs typeface="+mn-cs"/>
                <a:hlinkClick r:id="rId9">
                  <a:extLst>
                    <a:ext uri="{A12FA001-AC4F-418D-AE19-62706E023703}">
                      <ahyp:hlinkClr xmlns:ahyp="http://schemas.microsoft.com/office/drawing/2018/hyperlinkcolor" val="tx"/>
                    </a:ext>
                  </a:extLst>
                </a:hlinkClick>
              </a:rPr>
              <a:t>dallmer.de</a:t>
            </a:r>
            <a:r>
              <a:rPr lang="de-DE" sz="1603" spc="0" dirty="0">
                <a:solidFill>
                  <a:schemeClr val="bg1"/>
                </a:solidFill>
                <a:latin typeface="+mn-lt"/>
                <a:cs typeface="+mn-cs"/>
                <a:hlinkClick r:id="rId9">
                  <a:extLst>
                    <a:ext uri="{A12FA001-AC4F-418D-AE19-62706E023703}">
                      <ahyp:hlinkClr xmlns:ahyp="http://schemas.microsoft.com/office/drawing/2018/hyperlinkcolor" val="tx"/>
                    </a:ext>
                  </a:extLst>
                </a:hlinkClick>
              </a:rPr>
              <a:t> </a:t>
            </a:r>
            <a:endParaRPr sz="1603" spc="0" dirty="0">
              <a:solidFill>
                <a:schemeClr val="bg1"/>
              </a:solidFill>
              <a:latin typeface="+mn-lt"/>
              <a:cs typeface="+mn-cs"/>
            </a:endParaRPr>
          </a:p>
        </p:txBody>
      </p:sp>
      <p:sp>
        <p:nvSpPr>
          <p:cNvPr id="5" name="object 5">
            <a:extLst>
              <a:ext uri="{FF2B5EF4-FFF2-40B4-BE49-F238E27FC236}">
                <a16:creationId xmlns:a16="http://schemas.microsoft.com/office/drawing/2014/main" id="{26244F1C-8DBD-3E4B-62A6-374ABBA6A736}"/>
              </a:ext>
            </a:extLst>
          </p:cNvPr>
          <p:cNvSpPr/>
          <p:nvPr userDrawn="1">
            <p:custDataLst>
              <p:tags r:id="rId4"/>
            </p:custDataLst>
          </p:nvPr>
        </p:nvSpPr>
        <p:spPr>
          <a:xfrm>
            <a:off x="421491" y="4438808"/>
            <a:ext cx="1214464" cy="0"/>
          </a:xfrm>
          <a:custGeom>
            <a:avLst/>
            <a:gdLst/>
            <a:ahLst/>
            <a:cxnLst/>
            <a:rect l="l" t="t" r="r" b="b"/>
            <a:pathLst>
              <a:path w="1212214">
                <a:moveTo>
                  <a:pt x="0" y="0"/>
                </a:moveTo>
                <a:lnTo>
                  <a:pt x="1212062" y="0"/>
                </a:lnTo>
              </a:path>
            </a:pathLst>
          </a:custGeom>
          <a:ln w="6350">
            <a:solidFill>
              <a:srgbClr val="FFFFFF"/>
            </a:solidFill>
          </a:ln>
        </p:spPr>
        <p:txBody>
          <a:bodyPr wrap="square" lIns="0" tIns="0" rIns="0" bIns="0" rtlCol="0"/>
          <a:lstStyle/>
          <a:p>
            <a:endParaRPr spc="0">
              <a:latin typeface="+mn-lt"/>
            </a:endParaRPr>
          </a:p>
        </p:txBody>
      </p:sp>
      <p:pic>
        <p:nvPicPr>
          <p:cNvPr id="18" name="Grafik 17" descr="Ein Bild, das Muster, Quadrat, Symmetrie, Kunst enthält.&#10;&#10;Automatisch generierte Beschreibung">
            <a:extLst>
              <a:ext uri="{FF2B5EF4-FFF2-40B4-BE49-F238E27FC236}">
                <a16:creationId xmlns:a16="http://schemas.microsoft.com/office/drawing/2014/main" id="{8D99ABC0-73DD-0D6D-59C4-DB03E6D34227}"/>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4749923" y="4435637"/>
            <a:ext cx="986076" cy="986076"/>
          </a:xfrm>
          <a:prstGeom prst="rect">
            <a:avLst/>
          </a:prstGeom>
        </p:spPr>
      </p:pic>
    </p:spTree>
    <p:extLst>
      <p:ext uri="{BB962C8B-B14F-4D97-AF65-F5344CB8AC3E}">
        <p14:creationId xmlns:p14="http://schemas.microsoft.com/office/powerpoint/2010/main" val="3425394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hell">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9423D010-A3B9-7039-EA21-56726937B545}"/>
              </a:ext>
            </a:extLst>
          </p:cNvPr>
          <p:cNvGraphicFramePr>
            <a:graphicFrameLocks noChangeAspect="1"/>
          </p:cNvGraphicFramePr>
          <p:nvPr userDrawn="1">
            <p:custDataLst>
              <p:tags r:id="rId2"/>
            </p:custDataLst>
            <p:extLst>
              <p:ext uri="{D42A27DB-BD31-4B8C-83A1-F6EECF244321}">
                <p14:modId xmlns:p14="http://schemas.microsoft.com/office/powerpoint/2010/main" val="4038270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6" name="think-cell Folie" r:id="rId4" imgW="592" imgH="591" progId="TCLayout.ActiveDocument.1">
                  <p:embed/>
                </p:oleObj>
              </mc:Choice>
              <mc:Fallback>
                <p:oleObj name="think-cell Folie" r:id="rId4" imgW="592" imgH="591" progId="TCLayout.ActiveDocument.1">
                  <p:embed/>
                  <p:pic>
                    <p:nvPicPr>
                      <p:cNvPr id="14" name="think-cell data - do not delete" hidden="1">
                        <a:extLst>
                          <a:ext uri="{FF2B5EF4-FFF2-40B4-BE49-F238E27FC236}">
                            <a16:creationId xmlns:a16="http://schemas.microsoft.com/office/drawing/2014/main" id="{9423D010-A3B9-7039-EA21-56726937B5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A85BDC5-E338-2798-3015-0493E7D8E11D}"/>
              </a:ext>
            </a:extLst>
          </p:cNvPr>
          <p:cNvSpPr>
            <a:spLocks noGrp="1"/>
          </p:cNvSpPr>
          <p:nvPr>
            <p:ph type="ctrTitle"/>
          </p:nvPr>
        </p:nvSpPr>
        <p:spPr>
          <a:xfrm>
            <a:off x="407990" y="335563"/>
            <a:ext cx="5328009" cy="969496"/>
          </a:xfrm>
        </p:spPr>
        <p:txBody>
          <a:bodyPr vert="horz" anchor="t"/>
          <a:lstStyle>
            <a:lvl1pPr algn="l">
              <a:defRPr sz="3500">
                <a:solidFill>
                  <a:schemeClr val="tx1"/>
                </a:solidFill>
              </a:defRPr>
            </a:lvl1pPr>
          </a:lstStyle>
          <a:p>
            <a:r>
              <a:rPr lang="de-DE"/>
              <a:t>Mastertitelformat bearbeiten</a:t>
            </a:r>
            <a:endParaRPr lang="en-US" dirty="0"/>
          </a:p>
        </p:txBody>
      </p:sp>
      <p:sp>
        <p:nvSpPr>
          <p:cNvPr id="3" name="Untertitel 2">
            <a:extLst>
              <a:ext uri="{FF2B5EF4-FFF2-40B4-BE49-F238E27FC236}">
                <a16:creationId xmlns:a16="http://schemas.microsoft.com/office/drawing/2014/main" id="{77CD5D4E-D25C-ACC3-DA5D-91886EEC9E7F}"/>
              </a:ext>
            </a:extLst>
          </p:cNvPr>
          <p:cNvSpPr>
            <a:spLocks noGrp="1"/>
          </p:cNvSpPr>
          <p:nvPr>
            <p:ph type="subTitle" idx="1"/>
          </p:nvPr>
        </p:nvSpPr>
        <p:spPr>
          <a:xfrm>
            <a:off x="407990" y="1977683"/>
            <a:ext cx="5328009" cy="1655762"/>
          </a:xfrm>
        </p:spPr>
        <p:txBody>
          <a:bodyPr/>
          <a:lstStyle>
            <a:lvl1pPr marL="0" indent="0" algn="l">
              <a:spcBef>
                <a:spcPts val="0"/>
              </a:spcBef>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grpSp>
        <p:nvGrpSpPr>
          <p:cNvPr id="22" name="Grafik 23">
            <a:extLst>
              <a:ext uri="{FF2B5EF4-FFF2-40B4-BE49-F238E27FC236}">
                <a16:creationId xmlns:a16="http://schemas.microsoft.com/office/drawing/2014/main" id="{4E752B44-9257-E045-0D76-82B15DC5C0CE}"/>
              </a:ext>
            </a:extLst>
          </p:cNvPr>
          <p:cNvGrpSpPr>
            <a:grpSpLocks noChangeAspect="1"/>
          </p:cNvGrpSpPr>
          <p:nvPr userDrawn="1"/>
        </p:nvGrpSpPr>
        <p:grpSpPr>
          <a:xfrm>
            <a:off x="425475" y="4221088"/>
            <a:ext cx="1296000" cy="223871"/>
            <a:chOff x="3042261" y="4495188"/>
            <a:chExt cx="3720761" cy="642716"/>
          </a:xfrm>
          <a:solidFill>
            <a:schemeClr val="bg1"/>
          </a:solidFill>
        </p:grpSpPr>
        <p:sp>
          <p:nvSpPr>
            <p:cNvPr id="23" name="Freihandform: Form 22">
              <a:extLst>
                <a:ext uri="{FF2B5EF4-FFF2-40B4-BE49-F238E27FC236}">
                  <a16:creationId xmlns:a16="http://schemas.microsoft.com/office/drawing/2014/main" id="{A6C53CC2-7BAD-29AA-A29A-2010FA9AF7AF}"/>
                </a:ext>
              </a:extLst>
            </p:cNvPr>
            <p:cNvSpPr/>
            <p:nvPr/>
          </p:nvSpPr>
          <p:spPr>
            <a:xfrm>
              <a:off x="3042261" y="4495188"/>
              <a:ext cx="450339" cy="638344"/>
            </a:xfrm>
            <a:custGeom>
              <a:avLst/>
              <a:gdLst>
                <a:gd name="connsiteX0" fmla="*/ 262333 w 450339"/>
                <a:gd name="connsiteY0" fmla="*/ 638345 h 638344"/>
                <a:gd name="connsiteX1" fmla="*/ 251403 w 450339"/>
                <a:gd name="connsiteY1" fmla="*/ 638345 h 638344"/>
                <a:gd name="connsiteX2" fmla="*/ 0 w 450339"/>
                <a:gd name="connsiteY2" fmla="*/ 638345 h 638344"/>
                <a:gd name="connsiteX3" fmla="*/ 0 w 450339"/>
                <a:gd name="connsiteY3" fmla="*/ 0 h 638344"/>
                <a:gd name="connsiteX4" fmla="*/ 266706 w 450339"/>
                <a:gd name="connsiteY4" fmla="*/ 0 h 638344"/>
                <a:gd name="connsiteX5" fmla="*/ 450339 w 450339"/>
                <a:gd name="connsiteY5" fmla="*/ 192378 h 638344"/>
                <a:gd name="connsiteX6" fmla="*/ 450339 w 450339"/>
                <a:gd name="connsiteY6" fmla="*/ 452525 h 638344"/>
                <a:gd name="connsiteX7" fmla="*/ 393500 w 450339"/>
                <a:gd name="connsiteY7" fmla="*/ 598995 h 638344"/>
                <a:gd name="connsiteX8" fmla="*/ 262333 w 450339"/>
                <a:gd name="connsiteY8" fmla="*/ 638345 h 638344"/>
                <a:gd name="connsiteX9" fmla="*/ 137725 w 450339"/>
                <a:gd name="connsiteY9" fmla="*/ 500620 h 638344"/>
                <a:gd name="connsiteX10" fmla="*/ 257961 w 450339"/>
                <a:gd name="connsiteY10" fmla="*/ 500620 h 638344"/>
                <a:gd name="connsiteX11" fmla="*/ 319172 w 450339"/>
                <a:gd name="connsiteY11" fmla="*/ 445967 h 638344"/>
                <a:gd name="connsiteX12" fmla="*/ 319172 w 450339"/>
                <a:gd name="connsiteY12" fmla="*/ 196750 h 638344"/>
                <a:gd name="connsiteX13" fmla="*/ 255775 w 450339"/>
                <a:gd name="connsiteY13" fmla="*/ 135539 h 638344"/>
                <a:gd name="connsiteX14" fmla="*/ 135539 w 450339"/>
                <a:gd name="connsiteY14" fmla="*/ 135539 h 638344"/>
                <a:gd name="connsiteX15" fmla="*/ 135539 w 450339"/>
                <a:gd name="connsiteY15" fmla="*/ 500620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339" h="638344">
                  <a:moveTo>
                    <a:pt x="262333" y="638345"/>
                  </a:moveTo>
                  <a:cubicBezTo>
                    <a:pt x="257961" y="638345"/>
                    <a:pt x="255775" y="638345"/>
                    <a:pt x="251403" y="638345"/>
                  </a:cubicBezTo>
                  <a:lnTo>
                    <a:pt x="0" y="638345"/>
                  </a:lnTo>
                  <a:lnTo>
                    <a:pt x="0" y="0"/>
                  </a:lnTo>
                  <a:lnTo>
                    <a:pt x="266706" y="0"/>
                  </a:lnTo>
                  <a:cubicBezTo>
                    <a:pt x="391314" y="0"/>
                    <a:pt x="450339" y="61211"/>
                    <a:pt x="450339" y="192378"/>
                  </a:cubicBezTo>
                  <a:lnTo>
                    <a:pt x="450339" y="452525"/>
                  </a:lnTo>
                  <a:cubicBezTo>
                    <a:pt x="450339" y="518108"/>
                    <a:pt x="430664" y="566203"/>
                    <a:pt x="393500" y="598995"/>
                  </a:cubicBezTo>
                  <a:cubicBezTo>
                    <a:pt x="362895" y="625228"/>
                    <a:pt x="319172" y="638345"/>
                    <a:pt x="262333" y="638345"/>
                  </a:cubicBezTo>
                  <a:close/>
                  <a:moveTo>
                    <a:pt x="137725" y="500620"/>
                  </a:moveTo>
                  <a:lnTo>
                    <a:pt x="257961" y="500620"/>
                  </a:lnTo>
                  <a:cubicBezTo>
                    <a:pt x="288567" y="500620"/>
                    <a:pt x="314800" y="478758"/>
                    <a:pt x="319172" y="445967"/>
                  </a:cubicBezTo>
                  <a:lnTo>
                    <a:pt x="319172" y="196750"/>
                  </a:lnTo>
                  <a:cubicBezTo>
                    <a:pt x="319172" y="163958"/>
                    <a:pt x="290753" y="135539"/>
                    <a:pt x="255775" y="135539"/>
                  </a:cubicBezTo>
                  <a:lnTo>
                    <a:pt x="135539" y="135539"/>
                  </a:lnTo>
                  <a:lnTo>
                    <a:pt x="135539" y="500620"/>
                  </a:lnTo>
                  <a:close/>
                </a:path>
              </a:pathLst>
            </a:custGeom>
            <a:grpFill/>
            <a:ln w="21819" cap="flat">
              <a:noFill/>
              <a:prstDash val="solid"/>
              <a:miter/>
            </a:ln>
          </p:spPr>
          <p:txBody>
            <a:bodyPr rtlCol="0" anchor="ctr"/>
            <a:lstStyle/>
            <a:p>
              <a:endParaRPr lang="de-DE"/>
            </a:p>
          </p:txBody>
        </p:sp>
        <p:sp>
          <p:nvSpPr>
            <p:cNvPr id="24" name="Freihandform: Form 23">
              <a:extLst>
                <a:ext uri="{FF2B5EF4-FFF2-40B4-BE49-F238E27FC236}">
                  <a16:creationId xmlns:a16="http://schemas.microsoft.com/office/drawing/2014/main" id="{31A9B081-97C2-20F7-6A5C-7C4D15054E6D}"/>
                </a:ext>
              </a:extLst>
            </p:cNvPr>
            <p:cNvSpPr/>
            <p:nvPr/>
          </p:nvSpPr>
          <p:spPr>
            <a:xfrm>
              <a:off x="3612836" y="4495188"/>
              <a:ext cx="461269" cy="638344"/>
            </a:xfrm>
            <a:custGeom>
              <a:avLst/>
              <a:gdLst>
                <a:gd name="connsiteX0" fmla="*/ 461269 w 461269"/>
                <a:gd name="connsiteY0" fmla="*/ 638345 h 638344"/>
                <a:gd name="connsiteX1" fmla="*/ 323544 w 461269"/>
                <a:gd name="connsiteY1" fmla="*/ 638345 h 638344"/>
                <a:gd name="connsiteX2" fmla="*/ 323544 w 461269"/>
                <a:gd name="connsiteY2" fmla="*/ 487503 h 638344"/>
                <a:gd name="connsiteX3" fmla="*/ 137725 w 461269"/>
                <a:gd name="connsiteY3" fmla="*/ 487503 h 638344"/>
                <a:gd name="connsiteX4" fmla="*/ 137725 w 461269"/>
                <a:gd name="connsiteY4" fmla="*/ 638345 h 638344"/>
                <a:gd name="connsiteX5" fmla="*/ 0 w 461269"/>
                <a:gd name="connsiteY5" fmla="*/ 638345 h 638344"/>
                <a:gd name="connsiteX6" fmla="*/ 0 w 461269"/>
                <a:gd name="connsiteY6" fmla="*/ 188006 h 638344"/>
                <a:gd name="connsiteX7" fmla="*/ 190192 w 461269"/>
                <a:gd name="connsiteY7" fmla="*/ 0 h 638344"/>
                <a:gd name="connsiteX8" fmla="*/ 268892 w 461269"/>
                <a:gd name="connsiteY8" fmla="*/ 0 h 638344"/>
                <a:gd name="connsiteX9" fmla="*/ 461269 w 461269"/>
                <a:gd name="connsiteY9" fmla="*/ 192378 h 638344"/>
                <a:gd name="connsiteX10" fmla="*/ 461269 w 461269"/>
                <a:gd name="connsiteY10" fmla="*/ 638345 h 638344"/>
                <a:gd name="connsiteX11" fmla="*/ 137725 w 461269"/>
                <a:gd name="connsiteY11" fmla="*/ 351964 h 638344"/>
                <a:gd name="connsiteX12" fmla="*/ 323544 w 461269"/>
                <a:gd name="connsiteY12" fmla="*/ 351964 h 638344"/>
                <a:gd name="connsiteX13" fmla="*/ 323544 w 461269"/>
                <a:gd name="connsiteY13" fmla="*/ 201122 h 638344"/>
                <a:gd name="connsiteX14" fmla="*/ 262333 w 461269"/>
                <a:gd name="connsiteY14" fmla="*/ 135539 h 638344"/>
                <a:gd name="connsiteX15" fmla="*/ 198936 w 461269"/>
                <a:gd name="connsiteY15" fmla="*/ 135539 h 638344"/>
                <a:gd name="connsiteX16" fmla="*/ 137725 w 461269"/>
                <a:gd name="connsiteY16" fmla="*/ 194564 h 638344"/>
                <a:gd name="connsiteX17" fmla="*/ 137725 w 461269"/>
                <a:gd name="connsiteY17" fmla="*/ 351964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61269" h="638344">
                  <a:moveTo>
                    <a:pt x="461269" y="638345"/>
                  </a:moveTo>
                  <a:lnTo>
                    <a:pt x="323544" y="638345"/>
                  </a:lnTo>
                  <a:lnTo>
                    <a:pt x="323544" y="487503"/>
                  </a:lnTo>
                  <a:lnTo>
                    <a:pt x="137725" y="487503"/>
                  </a:lnTo>
                  <a:lnTo>
                    <a:pt x="137725" y="638345"/>
                  </a:lnTo>
                  <a:lnTo>
                    <a:pt x="0" y="638345"/>
                  </a:lnTo>
                  <a:lnTo>
                    <a:pt x="0" y="188006"/>
                  </a:lnTo>
                  <a:cubicBezTo>
                    <a:pt x="0" y="61211"/>
                    <a:pt x="63397" y="0"/>
                    <a:pt x="190192" y="0"/>
                  </a:cubicBezTo>
                  <a:lnTo>
                    <a:pt x="268892" y="0"/>
                  </a:lnTo>
                  <a:cubicBezTo>
                    <a:pt x="397872" y="0"/>
                    <a:pt x="461269" y="63397"/>
                    <a:pt x="461269" y="192378"/>
                  </a:cubicBezTo>
                  <a:lnTo>
                    <a:pt x="461269" y="638345"/>
                  </a:lnTo>
                  <a:close/>
                  <a:moveTo>
                    <a:pt x="137725" y="351964"/>
                  </a:moveTo>
                  <a:lnTo>
                    <a:pt x="323544" y="351964"/>
                  </a:lnTo>
                  <a:lnTo>
                    <a:pt x="323544" y="201122"/>
                  </a:lnTo>
                  <a:cubicBezTo>
                    <a:pt x="323544" y="163958"/>
                    <a:pt x="295125" y="135539"/>
                    <a:pt x="262333" y="135539"/>
                  </a:cubicBezTo>
                  <a:lnTo>
                    <a:pt x="198936" y="135539"/>
                  </a:lnTo>
                  <a:cubicBezTo>
                    <a:pt x="163958" y="135539"/>
                    <a:pt x="137725" y="161772"/>
                    <a:pt x="137725" y="194564"/>
                  </a:cubicBezTo>
                  <a:lnTo>
                    <a:pt x="137725" y="351964"/>
                  </a:lnTo>
                  <a:close/>
                </a:path>
              </a:pathLst>
            </a:custGeom>
            <a:grpFill/>
            <a:ln w="21819" cap="flat">
              <a:noFill/>
              <a:prstDash val="solid"/>
              <a:miter/>
            </a:ln>
          </p:spPr>
          <p:txBody>
            <a:bodyPr rtlCol="0" anchor="ctr"/>
            <a:lstStyle/>
            <a:p>
              <a:endParaRPr lang="de-DE"/>
            </a:p>
          </p:txBody>
        </p:sp>
        <p:sp>
          <p:nvSpPr>
            <p:cNvPr id="25" name="Freihandform: Form 24">
              <a:extLst>
                <a:ext uri="{FF2B5EF4-FFF2-40B4-BE49-F238E27FC236}">
                  <a16:creationId xmlns:a16="http://schemas.microsoft.com/office/drawing/2014/main" id="{6C07CA86-CC65-AF69-8C6B-50AC00EAE161}"/>
                </a:ext>
              </a:extLst>
            </p:cNvPr>
            <p:cNvSpPr/>
            <p:nvPr/>
          </p:nvSpPr>
          <p:spPr>
            <a:xfrm>
              <a:off x="4205272" y="4495188"/>
              <a:ext cx="327916" cy="638344"/>
            </a:xfrm>
            <a:custGeom>
              <a:avLst/>
              <a:gdLst>
                <a:gd name="connsiteX0" fmla="*/ 327917 w 327916"/>
                <a:gd name="connsiteY0" fmla="*/ 638345 h 638344"/>
                <a:gd name="connsiteX1" fmla="*/ 0 w 327916"/>
                <a:gd name="connsiteY1" fmla="*/ 638345 h 638344"/>
                <a:gd name="connsiteX2" fmla="*/ 0 w 327916"/>
                <a:gd name="connsiteY2" fmla="*/ 0 h 638344"/>
                <a:gd name="connsiteX3" fmla="*/ 137725 w 327916"/>
                <a:gd name="connsiteY3" fmla="*/ 0 h 638344"/>
                <a:gd name="connsiteX4" fmla="*/ 137725 w 327916"/>
                <a:gd name="connsiteY4" fmla="*/ 500620 h 638344"/>
                <a:gd name="connsiteX5" fmla="*/ 327917 w 327916"/>
                <a:gd name="connsiteY5" fmla="*/ 500620 h 638344"/>
                <a:gd name="connsiteX6" fmla="*/ 327917 w 327916"/>
                <a:gd name="connsiteY6" fmla="*/ 638345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916" h="638344">
                  <a:moveTo>
                    <a:pt x="327917" y="638345"/>
                  </a:moveTo>
                  <a:lnTo>
                    <a:pt x="0" y="638345"/>
                  </a:lnTo>
                  <a:lnTo>
                    <a:pt x="0" y="0"/>
                  </a:lnTo>
                  <a:lnTo>
                    <a:pt x="137725" y="0"/>
                  </a:lnTo>
                  <a:lnTo>
                    <a:pt x="137725" y="500620"/>
                  </a:lnTo>
                  <a:lnTo>
                    <a:pt x="327917" y="500620"/>
                  </a:lnTo>
                  <a:lnTo>
                    <a:pt x="327917" y="638345"/>
                  </a:lnTo>
                  <a:close/>
                </a:path>
              </a:pathLst>
            </a:custGeom>
            <a:grpFill/>
            <a:ln w="21819"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AF03A757-4A87-6815-B48B-65B9C776377A}"/>
                </a:ext>
              </a:extLst>
            </p:cNvPr>
            <p:cNvSpPr/>
            <p:nvPr/>
          </p:nvSpPr>
          <p:spPr>
            <a:xfrm>
              <a:off x="4627192" y="4495188"/>
              <a:ext cx="327916" cy="638344"/>
            </a:xfrm>
            <a:custGeom>
              <a:avLst/>
              <a:gdLst>
                <a:gd name="connsiteX0" fmla="*/ 325730 w 327916"/>
                <a:gd name="connsiteY0" fmla="*/ 638345 h 638344"/>
                <a:gd name="connsiteX1" fmla="*/ 0 w 327916"/>
                <a:gd name="connsiteY1" fmla="*/ 638345 h 638344"/>
                <a:gd name="connsiteX2" fmla="*/ 0 w 327916"/>
                <a:gd name="connsiteY2" fmla="*/ 0 h 638344"/>
                <a:gd name="connsiteX3" fmla="*/ 137725 w 327916"/>
                <a:gd name="connsiteY3" fmla="*/ 0 h 638344"/>
                <a:gd name="connsiteX4" fmla="*/ 137725 w 327916"/>
                <a:gd name="connsiteY4" fmla="*/ 500620 h 638344"/>
                <a:gd name="connsiteX5" fmla="*/ 327917 w 327916"/>
                <a:gd name="connsiteY5" fmla="*/ 500620 h 638344"/>
                <a:gd name="connsiteX6" fmla="*/ 327917 w 327916"/>
                <a:gd name="connsiteY6" fmla="*/ 638345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916" h="638344">
                  <a:moveTo>
                    <a:pt x="325730" y="638345"/>
                  </a:moveTo>
                  <a:lnTo>
                    <a:pt x="0" y="638345"/>
                  </a:lnTo>
                  <a:lnTo>
                    <a:pt x="0" y="0"/>
                  </a:lnTo>
                  <a:lnTo>
                    <a:pt x="137725" y="0"/>
                  </a:lnTo>
                  <a:lnTo>
                    <a:pt x="137725" y="500620"/>
                  </a:lnTo>
                  <a:lnTo>
                    <a:pt x="327917" y="500620"/>
                  </a:lnTo>
                  <a:lnTo>
                    <a:pt x="327917" y="638345"/>
                  </a:lnTo>
                  <a:close/>
                </a:path>
              </a:pathLst>
            </a:custGeom>
            <a:grpFill/>
            <a:ln w="21819" cap="flat">
              <a:noFill/>
              <a:prstDash val="solid"/>
              <a:miter/>
            </a:ln>
          </p:spPr>
          <p:txBody>
            <a:bodyPr rtlCol="0" anchor="ctr"/>
            <a:lstStyle/>
            <a:p>
              <a:endParaRPr lang="de-DE"/>
            </a:p>
          </p:txBody>
        </p:sp>
        <p:sp>
          <p:nvSpPr>
            <p:cNvPr id="27" name="Freihandform: Form 26">
              <a:extLst>
                <a:ext uri="{FF2B5EF4-FFF2-40B4-BE49-F238E27FC236}">
                  <a16:creationId xmlns:a16="http://schemas.microsoft.com/office/drawing/2014/main" id="{7EA6662F-D9A6-E4FF-5F1E-90BEE28F5DEE}"/>
                </a:ext>
              </a:extLst>
            </p:cNvPr>
            <p:cNvSpPr/>
            <p:nvPr/>
          </p:nvSpPr>
          <p:spPr>
            <a:xfrm>
              <a:off x="5849228" y="4495188"/>
              <a:ext cx="349777" cy="638344"/>
            </a:xfrm>
            <a:custGeom>
              <a:avLst/>
              <a:gdLst>
                <a:gd name="connsiteX0" fmla="*/ 349778 w 349777"/>
                <a:gd name="connsiteY0" fmla="*/ 638345 h 638344"/>
                <a:gd name="connsiteX1" fmla="*/ 0 w 349777"/>
                <a:gd name="connsiteY1" fmla="*/ 638345 h 638344"/>
                <a:gd name="connsiteX2" fmla="*/ 0 w 349777"/>
                <a:gd name="connsiteY2" fmla="*/ 0 h 638344"/>
                <a:gd name="connsiteX3" fmla="*/ 349778 w 349777"/>
                <a:gd name="connsiteY3" fmla="*/ 0 h 638344"/>
                <a:gd name="connsiteX4" fmla="*/ 349778 w 349777"/>
                <a:gd name="connsiteY4" fmla="*/ 137725 h 638344"/>
                <a:gd name="connsiteX5" fmla="*/ 137725 w 349777"/>
                <a:gd name="connsiteY5" fmla="*/ 137725 h 638344"/>
                <a:gd name="connsiteX6" fmla="*/ 137725 w 349777"/>
                <a:gd name="connsiteY6" fmla="*/ 251403 h 638344"/>
                <a:gd name="connsiteX7" fmla="*/ 349778 w 349777"/>
                <a:gd name="connsiteY7" fmla="*/ 251403 h 638344"/>
                <a:gd name="connsiteX8" fmla="*/ 349778 w 349777"/>
                <a:gd name="connsiteY8" fmla="*/ 389128 h 638344"/>
                <a:gd name="connsiteX9" fmla="*/ 137725 w 349777"/>
                <a:gd name="connsiteY9" fmla="*/ 389128 h 638344"/>
                <a:gd name="connsiteX10" fmla="*/ 137725 w 349777"/>
                <a:gd name="connsiteY10" fmla="*/ 500620 h 638344"/>
                <a:gd name="connsiteX11" fmla="*/ 349778 w 349777"/>
                <a:gd name="connsiteY11" fmla="*/ 500620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9777" h="638344">
                  <a:moveTo>
                    <a:pt x="349778" y="638345"/>
                  </a:moveTo>
                  <a:lnTo>
                    <a:pt x="0" y="638345"/>
                  </a:lnTo>
                  <a:lnTo>
                    <a:pt x="0" y="0"/>
                  </a:lnTo>
                  <a:lnTo>
                    <a:pt x="349778" y="0"/>
                  </a:lnTo>
                  <a:lnTo>
                    <a:pt x="349778" y="137725"/>
                  </a:lnTo>
                  <a:lnTo>
                    <a:pt x="137725" y="137725"/>
                  </a:lnTo>
                  <a:lnTo>
                    <a:pt x="137725" y="251403"/>
                  </a:lnTo>
                  <a:lnTo>
                    <a:pt x="349778" y="251403"/>
                  </a:lnTo>
                  <a:lnTo>
                    <a:pt x="349778" y="389128"/>
                  </a:lnTo>
                  <a:lnTo>
                    <a:pt x="137725" y="389128"/>
                  </a:lnTo>
                  <a:lnTo>
                    <a:pt x="137725" y="500620"/>
                  </a:lnTo>
                  <a:lnTo>
                    <a:pt x="349778" y="500620"/>
                  </a:lnTo>
                  <a:close/>
                </a:path>
              </a:pathLst>
            </a:custGeom>
            <a:grpFill/>
            <a:ln w="21819"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CEF51744-D32D-3344-734E-CC6EDA2B7051}"/>
                </a:ext>
              </a:extLst>
            </p:cNvPr>
            <p:cNvSpPr/>
            <p:nvPr/>
          </p:nvSpPr>
          <p:spPr>
            <a:xfrm>
              <a:off x="6321428" y="4495188"/>
              <a:ext cx="441594" cy="638344"/>
            </a:xfrm>
            <a:custGeom>
              <a:avLst/>
              <a:gdLst>
                <a:gd name="connsiteX0" fmla="*/ 439408 w 441594"/>
                <a:gd name="connsiteY0" fmla="*/ 450339 h 638344"/>
                <a:gd name="connsiteX1" fmla="*/ 391314 w 441594"/>
                <a:gd name="connsiteY1" fmla="*/ 360708 h 638344"/>
                <a:gd name="connsiteX2" fmla="*/ 439408 w 441594"/>
                <a:gd name="connsiteY2" fmla="*/ 273264 h 638344"/>
                <a:gd name="connsiteX3" fmla="*/ 439408 w 441594"/>
                <a:gd name="connsiteY3" fmla="*/ 179261 h 638344"/>
                <a:gd name="connsiteX4" fmla="*/ 266706 w 441594"/>
                <a:gd name="connsiteY4" fmla="*/ 0 h 638344"/>
                <a:gd name="connsiteX5" fmla="*/ 0 w 441594"/>
                <a:gd name="connsiteY5" fmla="*/ 0 h 638344"/>
                <a:gd name="connsiteX6" fmla="*/ 0 w 441594"/>
                <a:gd name="connsiteY6" fmla="*/ 638345 h 638344"/>
                <a:gd name="connsiteX7" fmla="*/ 137725 w 441594"/>
                <a:gd name="connsiteY7" fmla="*/ 638345 h 638344"/>
                <a:gd name="connsiteX8" fmla="*/ 137725 w 441594"/>
                <a:gd name="connsiteY8" fmla="*/ 435036 h 638344"/>
                <a:gd name="connsiteX9" fmla="*/ 251403 w 441594"/>
                <a:gd name="connsiteY9" fmla="*/ 435036 h 638344"/>
                <a:gd name="connsiteX10" fmla="*/ 314800 w 441594"/>
                <a:gd name="connsiteY10" fmla="*/ 500620 h 638344"/>
                <a:gd name="connsiteX11" fmla="*/ 314800 w 441594"/>
                <a:gd name="connsiteY11" fmla="*/ 638345 h 638344"/>
                <a:gd name="connsiteX12" fmla="*/ 441594 w 441594"/>
                <a:gd name="connsiteY12" fmla="*/ 638345 h 638344"/>
                <a:gd name="connsiteX13" fmla="*/ 439408 w 441594"/>
                <a:gd name="connsiteY13" fmla="*/ 450339 h 638344"/>
                <a:gd name="connsiteX14" fmla="*/ 312614 w 441594"/>
                <a:gd name="connsiteY14" fmla="*/ 244844 h 638344"/>
                <a:gd name="connsiteX15" fmla="*/ 251403 w 441594"/>
                <a:gd name="connsiteY15" fmla="*/ 306056 h 638344"/>
                <a:gd name="connsiteX16" fmla="*/ 137725 w 441594"/>
                <a:gd name="connsiteY16" fmla="*/ 306056 h 638344"/>
                <a:gd name="connsiteX17" fmla="*/ 137725 w 441594"/>
                <a:gd name="connsiteY17" fmla="*/ 135539 h 638344"/>
                <a:gd name="connsiteX18" fmla="*/ 251403 w 441594"/>
                <a:gd name="connsiteY18" fmla="*/ 135539 h 638344"/>
                <a:gd name="connsiteX19" fmla="*/ 314800 w 441594"/>
                <a:gd name="connsiteY19" fmla="*/ 196750 h 638344"/>
                <a:gd name="connsiteX20" fmla="*/ 314800 w 441594"/>
                <a:gd name="connsiteY20" fmla="*/ 244844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41594" h="638344">
                  <a:moveTo>
                    <a:pt x="439408" y="450339"/>
                  </a:moveTo>
                  <a:cubicBezTo>
                    <a:pt x="439408" y="395686"/>
                    <a:pt x="406617" y="369453"/>
                    <a:pt x="391314" y="360708"/>
                  </a:cubicBezTo>
                  <a:cubicBezTo>
                    <a:pt x="408803" y="349778"/>
                    <a:pt x="439408" y="323545"/>
                    <a:pt x="439408" y="273264"/>
                  </a:cubicBezTo>
                  <a:cubicBezTo>
                    <a:pt x="439408" y="238286"/>
                    <a:pt x="439408" y="179261"/>
                    <a:pt x="439408" y="179261"/>
                  </a:cubicBezTo>
                  <a:cubicBezTo>
                    <a:pt x="439408" y="26233"/>
                    <a:pt x="384755" y="0"/>
                    <a:pt x="266706" y="0"/>
                  </a:cubicBezTo>
                  <a:lnTo>
                    <a:pt x="0" y="0"/>
                  </a:lnTo>
                  <a:lnTo>
                    <a:pt x="0" y="638345"/>
                  </a:lnTo>
                  <a:lnTo>
                    <a:pt x="137725" y="638345"/>
                  </a:lnTo>
                  <a:lnTo>
                    <a:pt x="137725" y="435036"/>
                  </a:lnTo>
                  <a:lnTo>
                    <a:pt x="251403" y="435036"/>
                  </a:lnTo>
                  <a:cubicBezTo>
                    <a:pt x="301683" y="435036"/>
                    <a:pt x="314800" y="459083"/>
                    <a:pt x="314800" y="500620"/>
                  </a:cubicBezTo>
                  <a:lnTo>
                    <a:pt x="314800" y="638345"/>
                  </a:lnTo>
                  <a:lnTo>
                    <a:pt x="441594" y="638345"/>
                  </a:lnTo>
                  <a:lnTo>
                    <a:pt x="439408" y="450339"/>
                  </a:lnTo>
                  <a:close/>
                  <a:moveTo>
                    <a:pt x="312614" y="244844"/>
                  </a:moveTo>
                  <a:cubicBezTo>
                    <a:pt x="312614" y="277636"/>
                    <a:pt x="284195" y="306056"/>
                    <a:pt x="251403" y="306056"/>
                  </a:cubicBezTo>
                  <a:lnTo>
                    <a:pt x="137725" y="306056"/>
                  </a:lnTo>
                  <a:lnTo>
                    <a:pt x="137725" y="135539"/>
                  </a:lnTo>
                  <a:lnTo>
                    <a:pt x="251403" y="135539"/>
                  </a:lnTo>
                  <a:cubicBezTo>
                    <a:pt x="290753" y="135539"/>
                    <a:pt x="314800" y="166144"/>
                    <a:pt x="314800" y="196750"/>
                  </a:cubicBezTo>
                  <a:lnTo>
                    <a:pt x="314800" y="244844"/>
                  </a:lnTo>
                  <a:close/>
                </a:path>
              </a:pathLst>
            </a:custGeom>
            <a:grpFill/>
            <a:ln w="21819"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D7F20FC5-F85D-39CE-C9D3-9D4BBA9B292D}"/>
                </a:ext>
              </a:extLst>
            </p:cNvPr>
            <p:cNvSpPr/>
            <p:nvPr/>
          </p:nvSpPr>
          <p:spPr>
            <a:xfrm>
              <a:off x="5055670" y="4495188"/>
              <a:ext cx="675508" cy="642716"/>
            </a:xfrm>
            <a:custGeom>
              <a:avLst/>
              <a:gdLst>
                <a:gd name="connsiteX0" fmla="*/ 489689 w 675508"/>
                <a:gd name="connsiteY0" fmla="*/ 0 h 642716"/>
                <a:gd name="connsiteX1" fmla="*/ 424106 w 675508"/>
                <a:gd name="connsiteY1" fmla="*/ 0 h 642716"/>
                <a:gd name="connsiteX2" fmla="*/ 334475 w 675508"/>
                <a:gd name="connsiteY2" fmla="*/ 48094 h 642716"/>
                <a:gd name="connsiteX3" fmla="*/ 247031 w 675508"/>
                <a:gd name="connsiteY3" fmla="*/ 0 h 642716"/>
                <a:gd name="connsiteX4" fmla="*/ 181447 w 675508"/>
                <a:gd name="connsiteY4" fmla="*/ 0 h 642716"/>
                <a:gd name="connsiteX5" fmla="*/ 0 w 675508"/>
                <a:gd name="connsiteY5" fmla="*/ 192378 h 642716"/>
                <a:gd name="connsiteX6" fmla="*/ 0 w 675508"/>
                <a:gd name="connsiteY6" fmla="*/ 640531 h 642716"/>
                <a:gd name="connsiteX7" fmla="*/ 135539 w 675508"/>
                <a:gd name="connsiteY7" fmla="*/ 640531 h 642716"/>
                <a:gd name="connsiteX8" fmla="*/ 135539 w 675508"/>
                <a:gd name="connsiteY8" fmla="*/ 177075 h 642716"/>
                <a:gd name="connsiteX9" fmla="*/ 139911 w 675508"/>
                <a:gd name="connsiteY9" fmla="*/ 155214 h 642716"/>
                <a:gd name="connsiteX10" fmla="*/ 155214 w 675508"/>
                <a:gd name="connsiteY10" fmla="*/ 150842 h 642716"/>
                <a:gd name="connsiteX11" fmla="*/ 249217 w 675508"/>
                <a:gd name="connsiteY11" fmla="*/ 150842 h 642716"/>
                <a:gd name="connsiteX12" fmla="*/ 264519 w 675508"/>
                <a:gd name="connsiteY12" fmla="*/ 155214 h 642716"/>
                <a:gd name="connsiteX13" fmla="*/ 268892 w 675508"/>
                <a:gd name="connsiteY13" fmla="*/ 179261 h 642716"/>
                <a:gd name="connsiteX14" fmla="*/ 268892 w 675508"/>
                <a:gd name="connsiteY14" fmla="*/ 642717 h 642716"/>
                <a:gd name="connsiteX15" fmla="*/ 268892 w 675508"/>
                <a:gd name="connsiteY15" fmla="*/ 642717 h 642716"/>
                <a:gd name="connsiteX16" fmla="*/ 406617 w 675508"/>
                <a:gd name="connsiteY16" fmla="*/ 642717 h 642716"/>
                <a:gd name="connsiteX17" fmla="*/ 406617 w 675508"/>
                <a:gd name="connsiteY17" fmla="*/ 179261 h 642716"/>
                <a:gd name="connsiteX18" fmla="*/ 410989 w 675508"/>
                <a:gd name="connsiteY18" fmla="*/ 155214 h 642716"/>
                <a:gd name="connsiteX19" fmla="*/ 426292 w 675508"/>
                <a:gd name="connsiteY19" fmla="*/ 150842 h 642716"/>
                <a:gd name="connsiteX20" fmla="*/ 520294 w 675508"/>
                <a:gd name="connsiteY20" fmla="*/ 150842 h 642716"/>
                <a:gd name="connsiteX21" fmla="*/ 535597 w 675508"/>
                <a:gd name="connsiteY21" fmla="*/ 155214 h 642716"/>
                <a:gd name="connsiteX22" fmla="*/ 539970 w 675508"/>
                <a:gd name="connsiteY22" fmla="*/ 177075 h 642716"/>
                <a:gd name="connsiteX23" fmla="*/ 539970 w 675508"/>
                <a:gd name="connsiteY23" fmla="*/ 640531 h 642716"/>
                <a:gd name="connsiteX24" fmla="*/ 675509 w 675508"/>
                <a:gd name="connsiteY24" fmla="*/ 640531 h 642716"/>
                <a:gd name="connsiteX25" fmla="*/ 675509 w 675508"/>
                <a:gd name="connsiteY25" fmla="*/ 192378 h 642716"/>
                <a:gd name="connsiteX26" fmla="*/ 489689 w 675508"/>
                <a:gd name="connsiteY26" fmla="*/ 0 h 642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5508" h="642716">
                  <a:moveTo>
                    <a:pt x="489689" y="0"/>
                  </a:moveTo>
                  <a:lnTo>
                    <a:pt x="424106" y="0"/>
                  </a:lnTo>
                  <a:cubicBezTo>
                    <a:pt x="369453" y="0"/>
                    <a:pt x="343220" y="32792"/>
                    <a:pt x="334475" y="48094"/>
                  </a:cubicBezTo>
                  <a:cubicBezTo>
                    <a:pt x="323544" y="30606"/>
                    <a:pt x="297311" y="0"/>
                    <a:pt x="247031" y="0"/>
                  </a:cubicBezTo>
                  <a:lnTo>
                    <a:pt x="181447" y="0"/>
                  </a:lnTo>
                  <a:cubicBezTo>
                    <a:pt x="43722" y="0"/>
                    <a:pt x="0" y="26233"/>
                    <a:pt x="0" y="192378"/>
                  </a:cubicBezTo>
                  <a:lnTo>
                    <a:pt x="0" y="640531"/>
                  </a:lnTo>
                  <a:lnTo>
                    <a:pt x="135539" y="640531"/>
                  </a:lnTo>
                  <a:lnTo>
                    <a:pt x="135539" y="177075"/>
                  </a:lnTo>
                  <a:cubicBezTo>
                    <a:pt x="135539" y="163958"/>
                    <a:pt x="135539" y="157400"/>
                    <a:pt x="139911" y="155214"/>
                  </a:cubicBezTo>
                  <a:cubicBezTo>
                    <a:pt x="142097" y="153028"/>
                    <a:pt x="148655" y="150842"/>
                    <a:pt x="155214" y="150842"/>
                  </a:cubicBezTo>
                  <a:lnTo>
                    <a:pt x="249217" y="150842"/>
                  </a:lnTo>
                  <a:cubicBezTo>
                    <a:pt x="255775" y="150842"/>
                    <a:pt x="260147" y="150842"/>
                    <a:pt x="264519" y="155214"/>
                  </a:cubicBezTo>
                  <a:cubicBezTo>
                    <a:pt x="268892" y="159586"/>
                    <a:pt x="268892" y="163958"/>
                    <a:pt x="268892" y="179261"/>
                  </a:cubicBezTo>
                  <a:lnTo>
                    <a:pt x="268892" y="642717"/>
                  </a:lnTo>
                  <a:lnTo>
                    <a:pt x="268892" y="642717"/>
                  </a:lnTo>
                  <a:lnTo>
                    <a:pt x="406617" y="642717"/>
                  </a:lnTo>
                  <a:lnTo>
                    <a:pt x="406617" y="179261"/>
                  </a:lnTo>
                  <a:cubicBezTo>
                    <a:pt x="406617" y="166144"/>
                    <a:pt x="406617" y="159586"/>
                    <a:pt x="410989" y="155214"/>
                  </a:cubicBezTo>
                  <a:cubicBezTo>
                    <a:pt x="413175" y="153028"/>
                    <a:pt x="419734" y="150842"/>
                    <a:pt x="426292" y="150842"/>
                  </a:cubicBezTo>
                  <a:lnTo>
                    <a:pt x="520294" y="150842"/>
                  </a:lnTo>
                  <a:cubicBezTo>
                    <a:pt x="526853" y="150842"/>
                    <a:pt x="533411" y="150842"/>
                    <a:pt x="535597" y="155214"/>
                  </a:cubicBezTo>
                  <a:cubicBezTo>
                    <a:pt x="539970" y="159586"/>
                    <a:pt x="539970" y="163958"/>
                    <a:pt x="539970" y="177075"/>
                  </a:cubicBezTo>
                  <a:lnTo>
                    <a:pt x="539970" y="640531"/>
                  </a:lnTo>
                  <a:lnTo>
                    <a:pt x="675509" y="640531"/>
                  </a:lnTo>
                  <a:lnTo>
                    <a:pt x="675509" y="192378"/>
                  </a:lnTo>
                  <a:cubicBezTo>
                    <a:pt x="671136" y="26233"/>
                    <a:pt x="627414" y="0"/>
                    <a:pt x="489689" y="0"/>
                  </a:cubicBezTo>
                  <a:close/>
                </a:path>
              </a:pathLst>
            </a:custGeom>
            <a:grpFill/>
            <a:ln w="21819" cap="flat">
              <a:noFill/>
              <a:prstDash val="solid"/>
              <a:miter/>
            </a:ln>
          </p:spPr>
          <p:txBody>
            <a:bodyPr rtlCol="0" anchor="ctr"/>
            <a:lstStyle/>
            <a:p>
              <a:endParaRPr lang="de-DE"/>
            </a:p>
          </p:txBody>
        </p:sp>
      </p:grpSp>
      <p:grpSp>
        <p:nvGrpSpPr>
          <p:cNvPr id="15" name="Grafik 23">
            <a:extLst>
              <a:ext uri="{FF2B5EF4-FFF2-40B4-BE49-F238E27FC236}">
                <a16:creationId xmlns:a16="http://schemas.microsoft.com/office/drawing/2014/main" id="{ECAAF0B7-8F0D-E581-AA18-7927B486506F}"/>
              </a:ext>
            </a:extLst>
          </p:cNvPr>
          <p:cNvGrpSpPr>
            <a:grpSpLocks noChangeAspect="1"/>
          </p:cNvGrpSpPr>
          <p:nvPr userDrawn="1"/>
        </p:nvGrpSpPr>
        <p:grpSpPr>
          <a:xfrm>
            <a:off x="407989" y="6387890"/>
            <a:ext cx="1296000" cy="223871"/>
            <a:chOff x="3042261" y="4495188"/>
            <a:chExt cx="3720761" cy="642716"/>
          </a:xfrm>
          <a:solidFill>
            <a:schemeClr val="tx1"/>
          </a:solidFill>
        </p:grpSpPr>
        <p:sp>
          <p:nvSpPr>
            <p:cNvPr id="16" name="Freihandform: Form 15">
              <a:extLst>
                <a:ext uri="{FF2B5EF4-FFF2-40B4-BE49-F238E27FC236}">
                  <a16:creationId xmlns:a16="http://schemas.microsoft.com/office/drawing/2014/main" id="{332C9884-0FB9-516E-0A27-F260580633A2}"/>
                </a:ext>
              </a:extLst>
            </p:cNvPr>
            <p:cNvSpPr/>
            <p:nvPr/>
          </p:nvSpPr>
          <p:spPr>
            <a:xfrm>
              <a:off x="3042261" y="4495188"/>
              <a:ext cx="450339" cy="638344"/>
            </a:xfrm>
            <a:custGeom>
              <a:avLst/>
              <a:gdLst>
                <a:gd name="connsiteX0" fmla="*/ 262333 w 450339"/>
                <a:gd name="connsiteY0" fmla="*/ 638345 h 638344"/>
                <a:gd name="connsiteX1" fmla="*/ 251403 w 450339"/>
                <a:gd name="connsiteY1" fmla="*/ 638345 h 638344"/>
                <a:gd name="connsiteX2" fmla="*/ 0 w 450339"/>
                <a:gd name="connsiteY2" fmla="*/ 638345 h 638344"/>
                <a:gd name="connsiteX3" fmla="*/ 0 w 450339"/>
                <a:gd name="connsiteY3" fmla="*/ 0 h 638344"/>
                <a:gd name="connsiteX4" fmla="*/ 266706 w 450339"/>
                <a:gd name="connsiteY4" fmla="*/ 0 h 638344"/>
                <a:gd name="connsiteX5" fmla="*/ 450339 w 450339"/>
                <a:gd name="connsiteY5" fmla="*/ 192378 h 638344"/>
                <a:gd name="connsiteX6" fmla="*/ 450339 w 450339"/>
                <a:gd name="connsiteY6" fmla="*/ 452525 h 638344"/>
                <a:gd name="connsiteX7" fmla="*/ 393500 w 450339"/>
                <a:gd name="connsiteY7" fmla="*/ 598995 h 638344"/>
                <a:gd name="connsiteX8" fmla="*/ 262333 w 450339"/>
                <a:gd name="connsiteY8" fmla="*/ 638345 h 638344"/>
                <a:gd name="connsiteX9" fmla="*/ 137725 w 450339"/>
                <a:gd name="connsiteY9" fmla="*/ 500620 h 638344"/>
                <a:gd name="connsiteX10" fmla="*/ 257961 w 450339"/>
                <a:gd name="connsiteY10" fmla="*/ 500620 h 638344"/>
                <a:gd name="connsiteX11" fmla="*/ 319172 w 450339"/>
                <a:gd name="connsiteY11" fmla="*/ 445967 h 638344"/>
                <a:gd name="connsiteX12" fmla="*/ 319172 w 450339"/>
                <a:gd name="connsiteY12" fmla="*/ 196750 h 638344"/>
                <a:gd name="connsiteX13" fmla="*/ 255775 w 450339"/>
                <a:gd name="connsiteY13" fmla="*/ 135539 h 638344"/>
                <a:gd name="connsiteX14" fmla="*/ 135539 w 450339"/>
                <a:gd name="connsiteY14" fmla="*/ 135539 h 638344"/>
                <a:gd name="connsiteX15" fmla="*/ 135539 w 450339"/>
                <a:gd name="connsiteY15" fmla="*/ 500620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339" h="638344">
                  <a:moveTo>
                    <a:pt x="262333" y="638345"/>
                  </a:moveTo>
                  <a:cubicBezTo>
                    <a:pt x="257961" y="638345"/>
                    <a:pt x="255775" y="638345"/>
                    <a:pt x="251403" y="638345"/>
                  </a:cubicBezTo>
                  <a:lnTo>
                    <a:pt x="0" y="638345"/>
                  </a:lnTo>
                  <a:lnTo>
                    <a:pt x="0" y="0"/>
                  </a:lnTo>
                  <a:lnTo>
                    <a:pt x="266706" y="0"/>
                  </a:lnTo>
                  <a:cubicBezTo>
                    <a:pt x="391314" y="0"/>
                    <a:pt x="450339" y="61211"/>
                    <a:pt x="450339" y="192378"/>
                  </a:cubicBezTo>
                  <a:lnTo>
                    <a:pt x="450339" y="452525"/>
                  </a:lnTo>
                  <a:cubicBezTo>
                    <a:pt x="450339" y="518108"/>
                    <a:pt x="430664" y="566203"/>
                    <a:pt x="393500" y="598995"/>
                  </a:cubicBezTo>
                  <a:cubicBezTo>
                    <a:pt x="362895" y="625228"/>
                    <a:pt x="319172" y="638345"/>
                    <a:pt x="262333" y="638345"/>
                  </a:cubicBezTo>
                  <a:close/>
                  <a:moveTo>
                    <a:pt x="137725" y="500620"/>
                  </a:moveTo>
                  <a:lnTo>
                    <a:pt x="257961" y="500620"/>
                  </a:lnTo>
                  <a:cubicBezTo>
                    <a:pt x="288567" y="500620"/>
                    <a:pt x="314800" y="478758"/>
                    <a:pt x="319172" y="445967"/>
                  </a:cubicBezTo>
                  <a:lnTo>
                    <a:pt x="319172" y="196750"/>
                  </a:lnTo>
                  <a:cubicBezTo>
                    <a:pt x="319172" y="163958"/>
                    <a:pt x="290753" y="135539"/>
                    <a:pt x="255775" y="135539"/>
                  </a:cubicBezTo>
                  <a:lnTo>
                    <a:pt x="135539" y="135539"/>
                  </a:lnTo>
                  <a:lnTo>
                    <a:pt x="135539" y="500620"/>
                  </a:lnTo>
                  <a:close/>
                </a:path>
              </a:pathLst>
            </a:custGeom>
            <a:grpFill/>
            <a:ln w="21819" cap="flat">
              <a:noFill/>
              <a:prstDash val="solid"/>
              <a:miter/>
            </a:ln>
          </p:spPr>
          <p:txBody>
            <a:bodyPr rtlCol="0" anchor="ctr"/>
            <a:lstStyle/>
            <a:p>
              <a:endParaRPr lang="de-DE"/>
            </a:p>
          </p:txBody>
        </p:sp>
        <p:sp>
          <p:nvSpPr>
            <p:cNvPr id="17" name="Freihandform: Form 16">
              <a:extLst>
                <a:ext uri="{FF2B5EF4-FFF2-40B4-BE49-F238E27FC236}">
                  <a16:creationId xmlns:a16="http://schemas.microsoft.com/office/drawing/2014/main" id="{025C3C52-FB1B-CF0E-3ED3-0C9D96F7E99B}"/>
                </a:ext>
              </a:extLst>
            </p:cNvPr>
            <p:cNvSpPr/>
            <p:nvPr/>
          </p:nvSpPr>
          <p:spPr>
            <a:xfrm>
              <a:off x="3612836" y="4495188"/>
              <a:ext cx="461269" cy="638344"/>
            </a:xfrm>
            <a:custGeom>
              <a:avLst/>
              <a:gdLst>
                <a:gd name="connsiteX0" fmla="*/ 461269 w 461269"/>
                <a:gd name="connsiteY0" fmla="*/ 638345 h 638344"/>
                <a:gd name="connsiteX1" fmla="*/ 323544 w 461269"/>
                <a:gd name="connsiteY1" fmla="*/ 638345 h 638344"/>
                <a:gd name="connsiteX2" fmla="*/ 323544 w 461269"/>
                <a:gd name="connsiteY2" fmla="*/ 487503 h 638344"/>
                <a:gd name="connsiteX3" fmla="*/ 137725 w 461269"/>
                <a:gd name="connsiteY3" fmla="*/ 487503 h 638344"/>
                <a:gd name="connsiteX4" fmla="*/ 137725 w 461269"/>
                <a:gd name="connsiteY4" fmla="*/ 638345 h 638344"/>
                <a:gd name="connsiteX5" fmla="*/ 0 w 461269"/>
                <a:gd name="connsiteY5" fmla="*/ 638345 h 638344"/>
                <a:gd name="connsiteX6" fmla="*/ 0 w 461269"/>
                <a:gd name="connsiteY6" fmla="*/ 188006 h 638344"/>
                <a:gd name="connsiteX7" fmla="*/ 190192 w 461269"/>
                <a:gd name="connsiteY7" fmla="*/ 0 h 638344"/>
                <a:gd name="connsiteX8" fmla="*/ 268892 w 461269"/>
                <a:gd name="connsiteY8" fmla="*/ 0 h 638344"/>
                <a:gd name="connsiteX9" fmla="*/ 461269 w 461269"/>
                <a:gd name="connsiteY9" fmla="*/ 192378 h 638344"/>
                <a:gd name="connsiteX10" fmla="*/ 461269 w 461269"/>
                <a:gd name="connsiteY10" fmla="*/ 638345 h 638344"/>
                <a:gd name="connsiteX11" fmla="*/ 137725 w 461269"/>
                <a:gd name="connsiteY11" fmla="*/ 351964 h 638344"/>
                <a:gd name="connsiteX12" fmla="*/ 323544 w 461269"/>
                <a:gd name="connsiteY12" fmla="*/ 351964 h 638344"/>
                <a:gd name="connsiteX13" fmla="*/ 323544 w 461269"/>
                <a:gd name="connsiteY13" fmla="*/ 201122 h 638344"/>
                <a:gd name="connsiteX14" fmla="*/ 262333 w 461269"/>
                <a:gd name="connsiteY14" fmla="*/ 135539 h 638344"/>
                <a:gd name="connsiteX15" fmla="*/ 198936 w 461269"/>
                <a:gd name="connsiteY15" fmla="*/ 135539 h 638344"/>
                <a:gd name="connsiteX16" fmla="*/ 137725 w 461269"/>
                <a:gd name="connsiteY16" fmla="*/ 194564 h 638344"/>
                <a:gd name="connsiteX17" fmla="*/ 137725 w 461269"/>
                <a:gd name="connsiteY17" fmla="*/ 351964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61269" h="638344">
                  <a:moveTo>
                    <a:pt x="461269" y="638345"/>
                  </a:moveTo>
                  <a:lnTo>
                    <a:pt x="323544" y="638345"/>
                  </a:lnTo>
                  <a:lnTo>
                    <a:pt x="323544" y="487503"/>
                  </a:lnTo>
                  <a:lnTo>
                    <a:pt x="137725" y="487503"/>
                  </a:lnTo>
                  <a:lnTo>
                    <a:pt x="137725" y="638345"/>
                  </a:lnTo>
                  <a:lnTo>
                    <a:pt x="0" y="638345"/>
                  </a:lnTo>
                  <a:lnTo>
                    <a:pt x="0" y="188006"/>
                  </a:lnTo>
                  <a:cubicBezTo>
                    <a:pt x="0" y="61211"/>
                    <a:pt x="63397" y="0"/>
                    <a:pt x="190192" y="0"/>
                  </a:cubicBezTo>
                  <a:lnTo>
                    <a:pt x="268892" y="0"/>
                  </a:lnTo>
                  <a:cubicBezTo>
                    <a:pt x="397872" y="0"/>
                    <a:pt x="461269" y="63397"/>
                    <a:pt x="461269" y="192378"/>
                  </a:cubicBezTo>
                  <a:lnTo>
                    <a:pt x="461269" y="638345"/>
                  </a:lnTo>
                  <a:close/>
                  <a:moveTo>
                    <a:pt x="137725" y="351964"/>
                  </a:moveTo>
                  <a:lnTo>
                    <a:pt x="323544" y="351964"/>
                  </a:lnTo>
                  <a:lnTo>
                    <a:pt x="323544" y="201122"/>
                  </a:lnTo>
                  <a:cubicBezTo>
                    <a:pt x="323544" y="163958"/>
                    <a:pt x="295125" y="135539"/>
                    <a:pt x="262333" y="135539"/>
                  </a:cubicBezTo>
                  <a:lnTo>
                    <a:pt x="198936" y="135539"/>
                  </a:lnTo>
                  <a:cubicBezTo>
                    <a:pt x="163958" y="135539"/>
                    <a:pt x="137725" y="161772"/>
                    <a:pt x="137725" y="194564"/>
                  </a:cubicBezTo>
                  <a:lnTo>
                    <a:pt x="137725" y="351964"/>
                  </a:lnTo>
                  <a:close/>
                </a:path>
              </a:pathLst>
            </a:custGeom>
            <a:grpFill/>
            <a:ln w="21819"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1BFD1CFD-F5E4-B30C-8C70-1963A8F3BFB8}"/>
                </a:ext>
              </a:extLst>
            </p:cNvPr>
            <p:cNvSpPr/>
            <p:nvPr/>
          </p:nvSpPr>
          <p:spPr>
            <a:xfrm>
              <a:off x="4205272" y="4495188"/>
              <a:ext cx="327916" cy="638344"/>
            </a:xfrm>
            <a:custGeom>
              <a:avLst/>
              <a:gdLst>
                <a:gd name="connsiteX0" fmla="*/ 327917 w 327916"/>
                <a:gd name="connsiteY0" fmla="*/ 638345 h 638344"/>
                <a:gd name="connsiteX1" fmla="*/ 0 w 327916"/>
                <a:gd name="connsiteY1" fmla="*/ 638345 h 638344"/>
                <a:gd name="connsiteX2" fmla="*/ 0 w 327916"/>
                <a:gd name="connsiteY2" fmla="*/ 0 h 638344"/>
                <a:gd name="connsiteX3" fmla="*/ 137725 w 327916"/>
                <a:gd name="connsiteY3" fmla="*/ 0 h 638344"/>
                <a:gd name="connsiteX4" fmla="*/ 137725 w 327916"/>
                <a:gd name="connsiteY4" fmla="*/ 500620 h 638344"/>
                <a:gd name="connsiteX5" fmla="*/ 327917 w 327916"/>
                <a:gd name="connsiteY5" fmla="*/ 500620 h 638344"/>
                <a:gd name="connsiteX6" fmla="*/ 327917 w 327916"/>
                <a:gd name="connsiteY6" fmla="*/ 638345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916" h="638344">
                  <a:moveTo>
                    <a:pt x="327917" y="638345"/>
                  </a:moveTo>
                  <a:lnTo>
                    <a:pt x="0" y="638345"/>
                  </a:lnTo>
                  <a:lnTo>
                    <a:pt x="0" y="0"/>
                  </a:lnTo>
                  <a:lnTo>
                    <a:pt x="137725" y="0"/>
                  </a:lnTo>
                  <a:lnTo>
                    <a:pt x="137725" y="500620"/>
                  </a:lnTo>
                  <a:lnTo>
                    <a:pt x="327917" y="500620"/>
                  </a:lnTo>
                  <a:lnTo>
                    <a:pt x="327917" y="638345"/>
                  </a:lnTo>
                  <a:close/>
                </a:path>
              </a:pathLst>
            </a:custGeom>
            <a:grpFill/>
            <a:ln w="21819"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332EBED2-617A-BC87-F3C8-457AAE9E2DA3}"/>
                </a:ext>
              </a:extLst>
            </p:cNvPr>
            <p:cNvSpPr/>
            <p:nvPr/>
          </p:nvSpPr>
          <p:spPr>
            <a:xfrm>
              <a:off x="4627192" y="4495188"/>
              <a:ext cx="327916" cy="638344"/>
            </a:xfrm>
            <a:custGeom>
              <a:avLst/>
              <a:gdLst>
                <a:gd name="connsiteX0" fmla="*/ 325730 w 327916"/>
                <a:gd name="connsiteY0" fmla="*/ 638345 h 638344"/>
                <a:gd name="connsiteX1" fmla="*/ 0 w 327916"/>
                <a:gd name="connsiteY1" fmla="*/ 638345 h 638344"/>
                <a:gd name="connsiteX2" fmla="*/ 0 w 327916"/>
                <a:gd name="connsiteY2" fmla="*/ 0 h 638344"/>
                <a:gd name="connsiteX3" fmla="*/ 137725 w 327916"/>
                <a:gd name="connsiteY3" fmla="*/ 0 h 638344"/>
                <a:gd name="connsiteX4" fmla="*/ 137725 w 327916"/>
                <a:gd name="connsiteY4" fmla="*/ 500620 h 638344"/>
                <a:gd name="connsiteX5" fmla="*/ 327917 w 327916"/>
                <a:gd name="connsiteY5" fmla="*/ 500620 h 638344"/>
                <a:gd name="connsiteX6" fmla="*/ 327917 w 327916"/>
                <a:gd name="connsiteY6" fmla="*/ 638345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916" h="638344">
                  <a:moveTo>
                    <a:pt x="325730" y="638345"/>
                  </a:moveTo>
                  <a:lnTo>
                    <a:pt x="0" y="638345"/>
                  </a:lnTo>
                  <a:lnTo>
                    <a:pt x="0" y="0"/>
                  </a:lnTo>
                  <a:lnTo>
                    <a:pt x="137725" y="0"/>
                  </a:lnTo>
                  <a:lnTo>
                    <a:pt x="137725" y="500620"/>
                  </a:lnTo>
                  <a:lnTo>
                    <a:pt x="327917" y="500620"/>
                  </a:lnTo>
                  <a:lnTo>
                    <a:pt x="327917" y="638345"/>
                  </a:lnTo>
                  <a:close/>
                </a:path>
              </a:pathLst>
            </a:custGeom>
            <a:grpFill/>
            <a:ln w="21819"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49AB917F-F2FA-233A-BA7C-87D45520EEC5}"/>
                </a:ext>
              </a:extLst>
            </p:cNvPr>
            <p:cNvSpPr/>
            <p:nvPr/>
          </p:nvSpPr>
          <p:spPr>
            <a:xfrm>
              <a:off x="5849228" y="4495188"/>
              <a:ext cx="349777" cy="638344"/>
            </a:xfrm>
            <a:custGeom>
              <a:avLst/>
              <a:gdLst>
                <a:gd name="connsiteX0" fmla="*/ 349778 w 349777"/>
                <a:gd name="connsiteY0" fmla="*/ 638345 h 638344"/>
                <a:gd name="connsiteX1" fmla="*/ 0 w 349777"/>
                <a:gd name="connsiteY1" fmla="*/ 638345 h 638344"/>
                <a:gd name="connsiteX2" fmla="*/ 0 w 349777"/>
                <a:gd name="connsiteY2" fmla="*/ 0 h 638344"/>
                <a:gd name="connsiteX3" fmla="*/ 349778 w 349777"/>
                <a:gd name="connsiteY3" fmla="*/ 0 h 638344"/>
                <a:gd name="connsiteX4" fmla="*/ 349778 w 349777"/>
                <a:gd name="connsiteY4" fmla="*/ 137725 h 638344"/>
                <a:gd name="connsiteX5" fmla="*/ 137725 w 349777"/>
                <a:gd name="connsiteY5" fmla="*/ 137725 h 638344"/>
                <a:gd name="connsiteX6" fmla="*/ 137725 w 349777"/>
                <a:gd name="connsiteY6" fmla="*/ 251403 h 638344"/>
                <a:gd name="connsiteX7" fmla="*/ 349778 w 349777"/>
                <a:gd name="connsiteY7" fmla="*/ 251403 h 638344"/>
                <a:gd name="connsiteX8" fmla="*/ 349778 w 349777"/>
                <a:gd name="connsiteY8" fmla="*/ 389128 h 638344"/>
                <a:gd name="connsiteX9" fmla="*/ 137725 w 349777"/>
                <a:gd name="connsiteY9" fmla="*/ 389128 h 638344"/>
                <a:gd name="connsiteX10" fmla="*/ 137725 w 349777"/>
                <a:gd name="connsiteY10" fmla="*/ 500620 h 638344"/>
                <a:gd name="connsiteX11" fmla="*/ 349778 w 349777"/>
                <a:gd name="connsiteY11" fmla="*/ 500620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9777" h="638344">
                  <a:moveTo>
                    <a:pt x="349778" y="638345"/>
                  </a:moveTo>
                  <a:lnTo>
                    <a:pt x="0" y="638345"/>
                  </a:lnTo>
                  <a:lnTo>
                    <a:pt x="0" y="0"/>
                  </a:lnTo>
                  <a:lnTo>
                    <a:pt x="349778" y="0"/>
                  </a:lnTo>
                  <a:lnTo>
                    <a:pt x="349778" y="137725"/>
                  </a:lnTo>
                  <a:lnTo>
                    <a:pt x="137725" y="137725"/>
                  </a:lnTo>
                  <a:lnTo>
                    <a:pt x="137725" y="251403"/>
                  </a:lnTo>
                  <a:lnTo>
                    <a:pt x="349778" y="251403"/>
                  </a:lnTo>
                  <a:lnTo>
                    <a:pt x="349778" y="389128"/>
                  </a:lnTo>
                  <a:lnTo>
                    <a:pt x="137725" y="389128"/>
                  </a:lnTo>
                  <a:lnTo>
                    <a:pt x="137725" y="500620"/>
                  </a:lnTo>
                  <a:lnTo>
                    <a:pt x="349778" y="500620"/>
                  </a:lnTo>
                  <a:close/>
                </a:path>
              </a:pathLst>
            </a:custGeom>
            <a:grpFill/>
            <a:ln w="21819"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4602FF4F-D119-74DD-664D-CEC0D70FB349}"/>
                </a:ext>
              </a:extLst>
            </p:cNvPr>
            <p:cNvSpPr/>
            <p:nvPr/>
          </p:nvSpPr>
          <p:spPr>
            <a:xfrm>
              <a:off x="6321428" y="4495188"/>
              <a:ext cx="441594" cy="638344"/>
            </a:xfrm>
            <a:custGeom>
              <a:avLst/>
              <a:gdLst>
                <a:gd name="connsiteX0" fmla="*/ 439408 w 441594"/>
                <a:gd name="connsiteY0" fmla="*/ 450339 h 638344"/>
                <a:gd name="connsiteX1" fmla="*/ 391314 w 441594"/>
                <a:gd name="connsiteY1" fmla="*/ 360708 h 638344"/>
                <a:gd name="connsiteX2" fmla="*/ 439408 w 441594"/>
                <a:gd name="connsiteY2" fmla="*/ 273264 h 638344"/>
                <a:gd name="connsiteX3" fmla="*/ 439408 w 441594"/>
                <a:gd name="connsiteY3" fmla="*/ 179261 h 638344"/>
                <a:gd name="connsiteX4" fmla="*/ 266706 w 441594"/>
                <a:gd name="connsiteY4" fmla="*/ 0 h 638344"/>
                <a:gd name="connsiteX5" fmla="*/ 0 w 441594"/>
                <a:gd name="connsiteY5" fmla="*/ 0 h 638344"/>
                <a:gd name="connsiteX6" fmla="*/ 0 w 441594"/>
                <a:gd name="connsiteY6" fmla="*/ 638345 h 638344"/>
                <a:gd name="connsiteX7" fmla="*/ 137725 w 441594"/>
                <a:gd name="connsiteY7" fmla="*/ 638345 h 638344"/>
                <a:gd name="connsiteX8" fmla="*/ 137725 w 441594"/>
                <a:gd name="connsiteY8" fmla="*/ 435036 h 638344"/>
                <a:gd name="connsiteX9" fmla="*/ 251403 w 441594"/>
                <a:gd name="connsiteY9" fmla="*/ 435036 h 638344"/>
                <a:gd name="connsiteX10" fmla="*/ 314800 w 441594"/>
                <a:gd name="connsiteY10" fmla="*/ 500620 h 638344"/>
                <a:gd name="connsiteX11" fmla="*/ 314800 w 441594"/>
                <a:gd name="connsiteY11" fmla="*/ 638345 h 638344"/>
                <a:gd name="connsiteX12" fmla="*/ 441594 w 441594"/>
                <a:gd name="connsiteY12" fmla="*/ 638345 h 638344"/>
                <a:gd name="connsiteX13" fmla="*/ 439408 w 441594"/>
                <a:gd name="connsiteY13" fmla="*/ 450339 h 638344"/>
                <a:gd name="connsiteX14" fmla="*/ 312614 w 441594"/>
                <a:gd name="connsiteY14" fmla="*/ 244844 h 638344"/>
                <a:gd name="connsiteX15" fmla="*/ 251403 w 441594"/>
                <a:gd name="connsiteY15" fmla="*/ 306056 h 638344"/>
                <a:gd name="connsiteX16" fmla="*/ 137725 w 441594"/>
                <a:gd name="connsiteY16" fmla="*/ 306056 h 638344"/>
                <a:gd name="connsiteX17" fmla="*/ 137725 w 441594"/>
                <a:gd name="connsiteY17" fmla="*/ 135539 h 638344"/>
                <a:gd name="connsiteX18" fmla="*/ 251403 w 441594"/>
                <a:gd name="connsiteY18" fmla="*/ 135539 h 638344"/>
                <a:gd name="connsiteX19" fmla="*/ 314800 w 441594"/>
                <a:gd name="connsiteY19" fmla="*/ 196750 h 638344"/>
                <a:gd name="connsiteX20" fmla="*/ 314800 w 441594"/>
                <a:gd name="connsiteY20" fmla="*/ 244844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41594" h="638344">
                  <a:moveTo>
                    <a:pt x="439408" y="450339"/>
                  </a:moveTo>
                  <a:cubicBezTo>
                    <a:pt x="439408" y="395686"/>
                    <a:pt x="406617" y="369453"/>
                    <a:pt x="391314" y="360708"/>
                  </a:cubicBezTo>
                  <a:cubicBezTo>
                    <a:pt x="408803" y="349778"/>
                    <a:pt x="439408" y="323545"/>
                    <a:pt x="439408" y="273264"/>
                  </a:cubicBezTo>
                  <a:cubicBezTo>
                    <a:pt x="439408" y="238286"/>
                    <a:pt x="439408" y="179261"/>
                    <a:pt x="439408" y="179261"/>
                  </a:cubicBezTo>
                  <a:cubicBezTo>
                    <a:pt x="439408" y="26233"/>
                    <a:pt x="384755" y="0"/>
                    <a:pt x="266706" y="0"/>
                  </a:cubicBezTo>
                  <a:lnTo>
                    <a:pt x="0" y="0"/>
                  </a:lnTo>
                  <a:lnTo>
                    <a:pt x="0" y="638345"/>
                  </a:lnTo>
                  <a:lnTo>
                    <a:pt x="137725" y="638345"/>
                  </a:lnTo>
                  <a:lnTo>
                    <a:pt x="137725" y="435036"/>
                  </a:lnTo>
                  <a:lnTo>
                    <a:pt x="251403" y="435036"/>
                  </a:lnTo>
                  <a:cubicBezTo>
                    <a:pt x="301683" y="435036"/>
                    <a:pt x="314800" y="459083"/>
                    <a:pt x="314800" y="500620"/>
                  </a:cubicBezTo>
                  <a:lnTo>
                    <a:pt x="314800" y="638345"/>
                  </a:lnTo>
                  <a:lnTo>
                    <a:pt x="441594" y="638345"/>
                  </a:lnTo>
                  <a:lnTo>
                    <a:pt x="439408" y="450339"/>
                  </a:lnTo>
                  <a:close/>
                  <a:moveTo>
                    <a:pt x="312614" y="244844"/>
                  </a:moveTo>
                  <a:cubicBezTo>
                    <a:pt x="312614" y="277636"/>
                    <a:pt x="284195" y="306056"/>
                    <a:pt x="251403" y="306056"/>
                  </a:cubicBezTo>
                  <a:lnTo>
                    <a:pt x="137725" y="306056"/>
                  </a:lnTo>
                  <a:lnTo>
                    <a:pt x="137725" y="135539"/>
                  </a:lnTo>
                  <a:lnTo>
                    <a:pt x="251403" y="135539"/>
                  </a:lnTo>
                  <a:cubicBezTo>
                    <a:pt x="290753" y="135539"/>
                    <a:pt x="314800" y="166144"/>
                    <a:pt x="314800" y="196750"/>
                  </a:cubicBezTo>
                  <a:lnTo>
                    <a:pt x="314800" y="244844"/>
                  </a:lnTo>
                  <a:close/>
                </a:path>
              </a:pathLst>
            </a:custGeom>
            <a:grpFill/>
            <a:ln w="21819" cap="flat">
              <a:noFill/>
              <a:prstDash val="solid"/>
              <a:miter/>
            </a:ln>
          </p:spPr>
          <p:txBody>
            <a:bodyPr rtlCol="0" anchor="ctr"/>
            <a:lstStyle/>
            <a:p>
              <a:endParaRPr lang="de-DE"/>
            </a:p>
          </p:txBody>
        </p:sp>
        <p:sp>
          <p:nvSpPr>
            <p:cNvPr id="30" name="Freihandform: Form 29">
              <a:extLst>
                <a:ext uri="{FF2B5EF4-FFF2-40B4-BE49-F238E27FC236}">
                  <a16:creationId xmlns:a16="http://schemas.microsoft.com/office/drawing/2014/main" id="{9807A905-8172-1818-3DB8-D4BBAE7B9BA9}"/>
                </a:ext>
              </a:extLst>
            </p:cNvPr>
            <p:cNvSpPr/>
            <p:nvPr/>
          </p:nvSpPr>
          <p:spPr>
            <a:xfrm>
              <a:off x="5055670" y="4495188"/>
              <a:ext cx="675508" cy="642716"/>
            </a:xfrm>
            <a:custGeom>
              <a:avLst/>
              <a:gdLst>
                <a:gd name="connsiteX0" fmla="*/ 489689 w 675508"/>
                <a:gd name="connsiteY0" fmla="*/ 0 h 642716"/>
                <a:gd name="connsiteX1" fmla="*/ 424106 w 675508"/>
                <a:gd name="connsiteY1" fmla="*/ 0 h 642716"/>
                <a:gd name="connsiteX2" fmla="*/ 334475 w 675508"/>
                <a:gd name="connsiteY2" fmla="*/ 48094 h 642716"/>
                <a:gd name="connsiteX3" fmla="*/ 247031 w 675508"/>
                <a:gd name="connsiteY3" fmla="*/ 0 h 642716"/>
                <a:gd name="connsiteX4" fmla="*/ 181447 w 675508"/>
                <a:gd name="connsiteY4" fmla="*/ 0 h 642716"/>
                <a:gd name="connsiteX5" fmla="*/ 0 w 675508"/>
                <a:gd name="connsiteY5" fmla="*/ 192378 h 642716"/>
                <a:gd name="connsiteX6" fmla="*/ 0 w 675508"/>
                <a:gd name="connsiteY6" fmla="*/ 640531 h 642716"/>
                <a:gd name="connsiteX7" fmla="*/ 135539 w 675508"/>
                <a:gd name="connsiteY7" fmla="*/ 640531 h 642716"/>
                <a:gd name="connsiteX8" fmla="*/ 135539 w 675508"/>
                <a:gd name="connsiteY8" fmla="*/ 177075 h 642716"/>
                <a:gd name="connsiteX9" fmla="*/ 139911 w 675508"/>
                <a:gd name="connsiteY9" fmla="*/ 155214 h 642716"/>
                <a:gd name="connsiteX10" fmla="*/ 155214 w 675508"/>
                <a:gd name="connsiteY10" fmla="*/ 150842 h 642716"/>
                <a:gd name="connsiteX11" fmla="*/ 249217 w 675508"/>
                <a:gd name="connsiteY11" fmla="*/ 150842 h 642716"/>
                <a:gd name="connsiteX12" fmla="*/ 264519 w 675508"/>
                <a:gd name="connsiteY12" fmla="*/ 155214 h 642716"/>
                <a:gd name="connsiteX13" fmla="*/ 268892 w 675508"/>
                <a:gd name="connsiteY13" fmla="*/ 179261 h 642716"/>
                <a:gd name="connsiteX14" fmla="*/ 268892 w 675508"/>
                <a:gd name="connsiteY14" fmla="*/ 642717 h 642716"/>
                <a:gd name="connsiteX15" fmla="*/ 268892 w 675508"/>
                <a:gd name="connsiteY15" fmla="*/ 642717 h 642716"/>
                <a:gd name="connsiteX16" fmla="*/ 406617 w 675508"/>
                <a:gd name="connsiteY16" fmla="*/ 642717 h 642716"/>
                <a:gd name="connsiteX17" fmla="*/ 406617 w 675508"/>
                <a:gd name="connsiteY17" fmla="*/ 179261 h 642716"/>
                <a:gd name="connsiteX18" fmla="*/ 410989 w 675508"/>
                <a:gd name="connsiteY18" fmla="*/ 155214 h 642716"/>
                <a:gd name="connsiteX19" fmla="*/ 426292 w 675508"/>
                <a:gd name="connsiteY19" fmla="*/ 150842 h 642716"/>
                <a:gd name="connsiteX20" fmla="*/ 520294 w 675508"/>
                <a:gd name="connsiteY20" fmla="*/ 150842 h 642716"/>
                <a:gd name="connsiteX21" fmla="*/ 535597 w 675508"/>
                <a:gd name="connsiteY21" fmla="*/ 155214 h 642716"/>
                <a:gd name="connsiteX22" fmla="*/ 539970 w 675508"/>
                <a:gd name="connsiteY22" fmla="*/ 177075 h 642716"/>
                <a:gd name="connsiteX23" fmla="*/ 539970 w 675508"/>
                <a:gd name="connsiteY23" fmla="*/ 640531 h 642716"/>
                <a:gd name="connsiteX24" fmla="*/ 675509 w 675508"/>
                <a:gd name="connsiteY24" fmla="*/ 640531 h 642716"/>
                <a:gd name="connsiteX25" fmla="*/ 675509 w 675508"/>
                <a:gd name="connsiteY25" fmla="*/ 192378 h 642716"/>
                <a:gd name="connsiteX26" fmla="*/ 489689 w 675508"/>
                <a:gd name="connsiteY26" fmla="*/ 0 h 642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5508" h="642716">
                  <a:moveTo>
                    <a:pt x="489689" y="0"/>
                  </a:moveTo>
                  <a:lnTo>
                    <a:pt x="424106" y="0"/>
                  </a:lnTo>
                  <a:cubicBezTo>
                    <a:pt x="369453" y="0"/>
                    <a:pt x="343220" y="32792"/>
                    <a:pt x="334475" y="48094"/>
                  </a:cubicBezTo>
                  <a:cubicBezTo>
                    <a:pt x="323544" y="30606"/>
                    <a:pt x="297311" y="0"/>
                    <a:pt x="247031" y="0"/>
                  </a:cubicBezTo>
                  <a:lnTo>
                    <a:pt x="181447" y="0"/>
                  </a:lnTo>
                  <a:cubicBezTo>
                    <a:pt x="43722" y="0"/>
                    <a:pt x="0" y="26233"/>
                    <a:pt x="0" y="192378"/>
                  </a:cubicBezTo>
                  <a:lnTo>
                    <a:pt x="0" y="640531"/>
                  </a:lnTo>
                  <a:lnTo>
                    <a:pt x="135539" y="640531"/>
                  </a:lnTo>
                  <a:lnTo>
                    <a:pt x="135539" y="177075"/>
                  </a:lnTo>
                  <a:cubicBezTo>
                    <a:pt x="135539" y="163958"/>
                    <a:pt x="135539" y="157400"/>
                    <a:pt x="139911" y="155214"/>
                  </a:cubicBezTo>
                  <a:cubicBezTo>
                    <a:pt x="142097" y="153028"/>
                    <a:pt x="148655" y="150842"/>
                    <a:pt x="155214" y="150842"/>
                  </a:cubicBezTo>
                  <a:lnTo>
                    <a:pt x="249217" y="150842"/>
                  </a:lnTo>
                  <a:cubicBezTo>
                    <a:pt x="255775" y="150842"/>
                    <a:pt x="260147" y="150842"/>
                    <a:pt x="264519" y="155214"/>
                  </a:cubicBezTo>
                  <a:cubicBezTo>
                    <a:pt x="268892" y="159586"/>
                    <a:pt x="268892" y="163958"/>
                    <a:pt x="268892" y="179261"/>
                  </a:cubicBezTo>
                  <a:lnTo>
                    <a:pt x="268892" y="642717"/>
                  </a:lnTo>
                  <a:lnTo>
                    <a:pt x="268892" y="642717"/>
                  </a:lnTo>
                  <a:lnTo>
                    <a:pt x="406617" y="642717"/>
                  </a:lnTo>
                  <a:lnTo>
                    <a:pt x="406617" y="179261"/>
                  </a:lnTo>
                  <a:cubicBezTo>
                    <a:pt x="406617" y="166144"/>
                    <a:pt x="406617" y="159586"/>
                    <a:pt x="410989" y="155214"/>
                  </a:cubicBezTo>
                  <a:cubicBezTo>
                    <a:pt x="413175" y="153028"/>
                    <a:pt x="419734" y="150842"/>
                    <a:pt x="426292" y="150842"/>
                  </a:cubicBezTo>
                  <a:lnTo>
                    <a:pt x="520294" y="150842"/>
                  </a:lnTo>
                  <a:cubicBezTo>
                    <a:pt x="526853" y="150842"/>
                    <a:pt x="533411" y="150842"/>
                    <a:pt x="535597" y="155214"/>
                  </a:cubicBezTo>
                  <a:cubicBezTo>
                    <a:pt x="539970" y="159586"/>
                    <a:pt x="539970" y="163958"/>
                    <a:pt x="539970" y="177075"/>
                  </a:cubicBezTo>
                  <a:lnTo>
                    <a:pt x="539970" y="640531"/>
                  </a:lnTo>
                  <a:lnTo>
                    <a:pt x="675509" y="640531"/>
                  </a:lnTo>
                  <a:lnTo>
                    <a:pt x="675509" y="192378"/>
                  </a:lnTo>
                  <a:cubicBezTo>
                    <a:pt x="671136" y="26233"/>
                    <a:pt x="627414" y="0"/>
                    <a:pt x="489689" y="0"/>
                  </a:cubicBezTo>
                  <a:close/>
                </a:path>
              </a:pathLst>
            </a:custGeom>
            <a:grpFill/>
            <a:ln w="21819" cap="flat">
              <a:noFill/>
              <a:prstDash val="solid"/>
              <a:miter/>
            </a:ln>
          </p:spPr>
          <p:txBody>
            <a:bodyPr rtlCol="0" anchor="ctr"/>
            <a:lstStyle/>
            <a:p>
              <a:endParaRPr lang="de-DE"/>
            </a:p>
          </p:txBody>
        </p:sp>
      </p:grpSp>
      <p:sp>
        <p:nvSpPr>
          <p:cNvPr id="31" name="Bildplatzhalter 22">
            <a:extLst>
              <a:ext uri="{FF2B5EF4-FFF2-40B4-BE49-F238E27FC236}">
                <a16:creationId xmlns:a16="http://schemas.microsoft.com/office/drawing/2014/main" id="{62187646-A1C3-195A-E563-00757FF02CAB}"/>
              </a:ext>
            </a:extLst>
          </p:cNvPr>
          <p:cNvSpPr>
            <a:spLocks noGrp="1"/>
          </p:cNvSpPr>
          <p:nvPr>
            <p:ph type="pic" sz="quarter" idx="14"/>
          </p:nvPr>
        </p:nvSpPr>
        <p:spPr>
          <a:xfrm>
            <a:off x="6096000" y="0"/>
            <a:ext cx="6096000" cy="6858000"/>
          </a:xfrm>
          <a:solidFill>
            <a:schemeClr val="bg1"/>
          </a:solidFill>
        </p:spPr>
        <p:txBody>
          <a:bodyPr/>
          <a:lstStyle/>
          <a:p>
            <a:r>
              <a:rPr lang="de-DE"/>
              <a:t>Bild durch Klicken auf Symbol hinzufügen</a:t>
            </a:r>
            <a:endParaRPr lang="de-DE" dirty="0"/>
          </a:p>
        </p:txBody>
      </p:sp>
    </p:spTree>
    <p:extLst>
      <p:ext uri="{BB962C8B-B14F-4D97-AF65-F5344CB8AC3E}">
        <p14:creationId xmlns:p14="http://schemas.microsoft.com/office/powerpoint/2010/main" val="65683385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dunkel">
    <p:bg>
      <p:bgPr>
        <a:solidFill>
          <a:schemeClr val="tx1"/>
        </a:solidFill>
        <a:effectLst/>
      </p:bgPr>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977EB5B-8228-C601-1176-E715BE9D4B28}"/>
              </a:ext>
            </a:extLst>
          </p:cNvPr>
          <p:cNvGraphicFramePr>
            <a:graphicFrameLocks noChangeAspect="1"/>
          </p:cNvGraphicFramePr>
          <p:nvPr userDrawn="1">
            <p:custDataLst>
              <p:tags r:id="rId2"/>
            </p:custDataLst>
            <p:extLst>
              <p:ext uri="{D42A27DB-BD31-4B8C-83A1-F6EECF244321}">
                <p14:modId xmlns:p14="http://schemas.microsoft.com/office/powerpoint/2010/main" val="2350878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0" name="think-cell Folie" r:id="rId4" imgW="592" imgH="591" progId="TCLayout.ActiveDocument.1">
                  <p:embed/>
                </p:oleObj>
              </mc:Choice>
              <mc:Fallback>
                <p:oleObj name="think-cell Folie" r:id="rId4" imgW="592" imgH="591" progId="TCLayout.ActiveDocument.1">
                  <p:embed/>
                  <p:pic>
                    <p:nvPicPr>
                      <p:cNvPr id="11" name="think-cell data - do not delete" hidden="1">
                        <a:extLst>
                          <a:ext uri="{FF2B5EF4-FFF2-40B4-BE49-F238E27FC236}">
                            <a16:creationId xmlns:a16="http://schemas.microsoft.com/office/drawing/2014/main" id="{4977EB5B-8228-C601-1176-E715BE9D4B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A50FCC40-B9BD-CC74-817B-4FE8B7ABC4EC}"/>
              </a:ext>
            </a:extLst>
          </p:cNvPr>
          <p:cNvSpPr>
            <a:spLocks noGrp="1"/>
          </p:cNvSpPr>
          <p:nvPr>
            <p:ph idx="1"/>
          </p:nvPr>
        </p:nvSpPr>
        <p:spPr>
          <a:xfrm>
            <a:off x="407989" y="404813"/>
            <a:ext cx="11376024" cy="5772150"/>
          </a:xfrm>
        </p:spPr>
        <p:txBody>
          <a:bodyPr/>
          <a:lstStyle>
            <a:lvl1pPr marL="806450" indent="-806450">
              <a:spcBef>
                <a:spcPts val="0"/>
              </a:spcBef>
              <a:spcAft>
                <a:spcPts val="600"/>
              </a:spcAft>
              <a:buFontTx/>
              <a:buNone/>
              <a:defRPr sz="3500">
                <a:solidFill>
                  <a:schemeClr val="bg1"/>
                </a:solidFill>
              </a:defRPr>
            </a:lvl1pPr>
            <a:lvl2pPr marL="806450" indent="-806450">
              <a:spcBef>
                <a:spcPts val="0"/>
              </a:spcBef>
              <a:spcAft>
                <a:spcPts val="600"/>
              </a:spcAft>
              <a:buFontTx/>
              <a:buNone/>
              <a:defRPr sz="3500">
                <a:solidFill>
                  <a:schemeClr val="accent1"/>
                </a:solidFill>
              </a:defRPr>
            </a:lvl2pPr>
            <a:lvl3pPr marL="806450" indent="-806450">
              <a:spcBef>
                <a:spcPts val="0"/>
              </a:spcBef>
              <a:spcAft>
                <a:spcPts val="600"/>
              </a:spcAft>
              <a:buFontTx/>
              <a:buNone/>
              <a:defRPr sz="3500">
                <a:solidFill>
                  <a:schemeClr val="bg1"/>
                </a:solidFill>
              </a:defRPr>
            </a:lvl3pPr>
            <a:lvl4pPr marL="806450" indent="-806450">
              <a:spcBef>
                <a:spcPts val="0"/>
              </a:spcBef>
              <a:spcAft>
                <a:spcPts val="600"/>
              </a:spcAft>
              <a:buFontTx/>
              <a:buNone/>
              <a:defRPr sz="3500">
                <a:solidFill>
                  <a:schemeClr val="bg1"/>
                </a:solidFill>
              </a:defRPr>
            </a:lvl4pPr>
            <a:lvl5pPr marL="806450" indent="-806450">
              <a:spcBef>
                <a:spcPts val="0"/>
              </a:spcBef>
              <a:spcAft>
                <a:spcPts val="600"/>
              </a:spcAft>
              <a:buFontTx/>
              <a:buNone/>
              <a:defRPr sz="3500">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grpSp>
        <p:nvGrpSpPr>
          <p:cNvPr id="12" name="Grafik 23">
            <a:extLst>
              <a:ext uri="{FF2B5EF4-FFF2-40B4-BE49-F238E27FC236}">
                <a16:creationId xmlns:a16="http://schemas.microsoft.com/office/drawing/2014/main" id="{42B281DF-0E81-FBF7-D86A-123394EBB444}"/>
              </a:ext>
            </a:extLst>
          </p:cNvPr>
          <p:cNvGrpSpPr>
            <a:grpSpLocks noChangeAspect="1"/>
          </p:cNvGrpSpPr>
          <p:nvPr userDrawn="1"/>
        </p:nvGrpSpPr>
        <p:grpSpPr>
          <a:xfrm>
            <a:off x="407989" y="6453187"/>
            <a:ext cx="918000" cy="158572"/>
            <a:chOff x="3042261" y="4495188"/>
            <a:chExt cx="3720761" cy="642716"/>
          </a:xfrm>
          <a:solidFill>
            <a:schemeClr val="bg1"/>
          </a:solidFill>
        </p:grpSpPr>
        <p:sp>
          <p:nvSpPr>
            <p:cNvPr id="13" name="Freihandform: Form 12">
              <a:extLst>
                <a:ext uri="{FF2B5EF4-FFF2-40B4-BE49-F238E27FC236}">
                  <a16:creationId xmlns:a16="http://schemas.microsoft.com/office/drawing/2014/main" id="{A5299EDE-E8D1-3A63-C6B8-2700229E2DED}"/>
                </a:ext>
              </a:extLst>
            </p:cNvPr>
            <p:cNvSpPr/>
            <p:nvPr/>
          </p:nvSpPr>
          <p:spPr>
            <a:xfrm>
              <a:off x="3042261" y="4495188"/>
              <a:ext cx="450339" cy="638344"/>
            </a:xfrm>
            <a:custGeom>
              <a:avLst/>
              <a:gdLst>
                <a:gd name="connsiteX0" fmla="*/ 262333 w 450339"/>
                <a:gd name="connsiteY0" fmla="*/ 638345 h 638344"/>
                <a:gd name="connsiteX1" fmla="*/ 251403 w 450339"/>
                <a:gd name="connsiteY1" fmla="*/ 638345 h 638344"/>
                <a:gd name="connsiteX2" fmla="*/ 0 w 450339"/>
                <a:gd name="connsiteY2" fmla="*/ 638345 h 638344"/>
                <a:gd name="connsiteX3" fmla="*/ 0 w 450339"/>
                <a:gd name="connsiteY3" fmla="*/ 0 h 638344"/>
                <a:gd name="connsiteX4" fmla="*/ 266706 w 450339"/>
                <a:gd name="connsiteY4" fmla="*/ 0 h 638344"/>
                <a:gd name="connsiteX5" fmla="*/ 450339 w 450339"/>
                <a:gd name="connsiteY5" fmla="*/ 192378 h 638344"/>
                <a:gd name="connsiteX6" fmla="*/ 450339 w 450339"/>
                <a:gd name="connsiteY6" fmla="*/ 452525 h 638344"/>
                <a:gd name="connsiteX7" fmla="*/ 393500 w 450339"/>
                <a:gd name="connsiteY7" fmla="*/ 598995 h 638344"/>
                <a:gd name="connsiteX8" fmla="*/ 262333 w 450339"/>
                <a:gd name="connsiteY8" fmla="*/ 638345 h 638344"/>
                <a:gd name="connsiteX9" fmla="*/ 137725 w 450339"/>
                <a:gd name="connsiteY9" fmla="*/ 500620 h 638344"/>
                <a:gd name="connsiteX10" fmla="*/ 257961 w 450339"/>
                <a:gd name="connsiteY10" fmla="*/ 500620 h 638344"/>
                <a:gd name="connsiteX11" fmla="*/ 319172 w 450339"/>
                <a:gd name="connsiteY11" fmla="*/ 445967 h 638344"/>
                <a:gd name="connsiteX12" fmla="*/ 319172 w 450339"/>
                <a:gd name="connsiteY12" fmla="*/ 196750 h 638344"/>
                <a:gd name="connsiteX13" fmla="*/ 255775 w 450339"/>
                <a:gd name="connsiteY13" fmla="*/ 135539 h 638344"/>
                <a:gd name="connsiteX14" fmla="*/ 135539 w 450339"/>
                <a:gd name="connsiteY14" fmla="*/ 135539 h 638344"/>
                <a:gd name="connsiteX15" fmla="*/ 135539 w 450339"/>
                <a:gd name="connsiteY15" fmla="*/ 500620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339" h="638344">
                  <a:moveTo>
                    <a:pt x="262333" y="638345"/>
                  </a:moveTo>
                  <a:cubicBezTo>
                    <a:pt x="257961" y="638345"/>
                    <a:pt x="255775" y="638345"/>
                    <a:pt x="251403" y="638345"/>
                  </a:cubicBezTo>
                  <a:lnTo>
                    <a:pt x="0" y="638345"/>
                  </a:lnTo>
                  <a:lnTo>
                    <a:pt x="0" y="0"/>
                  </a:lnTo>
                  <a:lnTo>
                    <a:pt x="266706" y="0"/>
                  </a:lnTo>
                  <a:cubicBezTo>
                    <a:pt x="391314" y="0"/>
                    <a:pt x="450339" y="61211"/>
                    <a:pt x="450339" y="192378"/>
                  </a:cubicBezTo>
                  <a:lnTo>
                    <a:pt x="450339" y="452525"/>
                  </a:lnTo>
                  <a:cubicBezTo>
                    <a:pt x="450339" y="518108"/>
                    <a:pt x="430664" y="566203"/>
                    <a:pt x="393500" y="598995"/>
                  </a:cubicBezTo>
                  <a:cubicBezTo>
                    <a:pt x="362895" y="625228"/>
                    <a:pt x="319172" y="638345"/>
                    <a:pt x="262333" y="638345"/>
                  </a:cubicBezTo>
                  <a:close/>
                  <a:moveTo>
                    <a:pt x="137725" y="500620"/>
                  </a:moveTo>
                  <a:lnTo>
                    <a:pt x="257961" y="500620"/>
                  </a:lnTo>
                  <a:cubicBezTo>
                    <a:pt x="288567" y="500620"/>
                    <a:pt x="314800" y="478758"/>
                    <a:pt x="319172" y="445967"/>
                  </a:cubicBezTo>
                  <a:lnTo>
                    <a:pt x="319172" y="196750"/>
                  </a:lnTo>
                  <a:cubicBezTo>
                    <a:pt x="319172" y="163958"/>
                    <a:pt x="290753" y="135539"/>
                    <a:pt x="255775" y="135539"/>
                  </a:cubicBezTo>
                  <a:lnTo>
                    <a:pt x="135539" y="135539"/>
                  </a:lnTo>
                  <a:lnTo>
                    <a:pt x="135539" y="500620"/>
                  </a:lnTo>
                  <a:close/>
                </a:path>
              </a:pathLst>
            </a:custGeom>
            <a:grpFill/>
            <a:ln w="21819" cap="flat">
              <a:noFill/>
              <a:prstDash val="solid"/>
              <a:miter/>
            </a:ln>
          </p:spPr>
          <p:txBody>
            <a:bodyPr rtlCol="0" anchor="ctr"/>
            <a:lstStyle/>
            <a:p>
              <a:endParaRPr lang="de-DE"/>
            </a:p>
          </p:txBody>
        </p:sp>
        <p:sp>
          <p:nvSpPr>
            <p:cNvPr id="14" name="Freihandform: Form 13">
              <a:extLst>
                <a:ext uri="{FF2B5EF4-FFF2-40B4-BE49-F238E27FC236}">
                  <a16:creationId xmlns:a16="http://schemas.microsoft.com/office/drawing/2014/main" id="{1EF5E381-C375-6101-B9A0-C1F80C792BBB}"/>
                </a:ext>
              </a:extLst>
            </p:cNvPr>
            <p:cNvSpPr/>
            <p:nvPr/>
          </p:nvSpPr>
          <p:spPr>
            <a:xfrm>
              <a:off x="3612836" y="4495188"/>
              <a:ext cx="461269" cy="638344"/>
            </a:xfrm>
            <a:custGeom>
              <a:avLst/>
              <a:gdLst>
                <a:gd name="connsiteX0" fmla="*/ 461269 w 461269"/>
                <a:gd name="connsiteY0" fmla="*/ 638345 h 638344"/>
                <a:gd name="connsiteX1" fmla="*/ 323544 w 461269"/>
                <a:gd name="connsiteY1" fmla="*/ 638345 h 638344"/>
                <a:gd name="connsiteX2" fmla="*/ 323544 w 461269"/>
                <a:gd name="connsiteY2" fmla="*/ 487503 h 638344"/>
                <a:gd name="connsiteX3" fmla="*/ 137725 w 461269"/>
                <a:gd name="connsiteY3" fmla="*/ 487503 h 638344"/>
                <a:gd name="connsiteX4" fmla="*/ 137725 w 461269"/>
                <a:gd name="connsiteY4" fmla="*/ 638345 h 638344"/>
                <a:gd name="connsiteX5" fmla="*/ 0 w 461269"/>
                <a:gd name="connsiteY5" fmla="*/ 638345 h 638344"/>
                <a:gd name="connsiteX6" fmla="*/ 0 w 461269"/>
                <a:gd name="connsiteY6" fmla="*/ 188006 h 638344"/>
                <a:gd name="connsiteX7" fmla="*/ 190192 w 461269"/>
                <a:gd name="connsiteY7" fmla="*/ 0 h 638344"/>
                <a:gd name="connsiteX8" fmla="*/ 268892 w 461269"/>
                <a:gd name="connsiteY8" fmla="*/ 0 h 638344"/>
                <a:gd name="connsiteX9" fmla="*/ 461269 w 461269"/>
                <a:gd name="connsiteY9" fmla="*/ 192378 h 638344"/>
                <a:gd name="connsiteX10" fmla="*/ 461269 w 461269"/>
                <a:gd name="connsiteY10" fmla="*/ 638345 h 638344"/>
                <a:gd name="connsiteX11" fmla="*/ 137725 w 461269"/>
                <a:gd name="connsiteY11" fmla="*/ 351964 h 638344"/>
                <a:gd name="connsiteX12" fmla="*/ 323544 w 461269"/>
                <a:gd name="connsiteY12" fmla="*/ 351964 h 638344"/>
                <a:gd name="connsiteX13" fmla="*/ 323544 w 461269"/>
                <a:gd name="connsiteY13" fmla="*/ 201122 h 638344"/>
                <a:gd name="connsiteX14" fmla="*/ 262333 w 461269"/>
                <a:gd name="connsiteY14" fmla="*/ 135539 h 638344"/>
                <a:gd name="connsiteX15" fmla="*/ 198936 w 461269"/>
                <a:gd name="connsiteY15" fmla="*/ 135539 h 638344"/>
                <a:gd name="connsiteX16" fmla="*/ 137725 w 461269"/>
                <a:gd name="connsiteY16" fmla="*/ 194564 h 638344"/>
                <a:gd name="connsiteX17" fmla="*/ 137725 w 461269"/>
                <a:gd name="connsiteY17" fmla="*/ 351964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61269" h="638344">
                  <a:moveTo>
                    <a:pt x="461269" y="638345"/>
                  </a:moveTo>
                  <a:lnTo>
                    <a:pt x="323544" y="638345"/>
                  </a:lnTo>
                  <a:lnTo>
                    <a:pt x="323544" y="487503"/>
                  </a:lnTo>
                  <a:lnTo>
                    <a:pt x="137725" y="487503"/>
                  </a:lnTo>
                  <a:lnTo>
                    <a:pt x="137725" y="638345"/>
                  </a:lnTo>
                  <a:lnTo>
                    <a:pt x="0" y="638345"/>
                  </a:lnTo>
                  <a:lnTo>
                    <a:pt x="0" y="188006"/>
                  </a:lnTo>
                  <a:cubicBezTo>
                    <a:pt x="0" y="61211"/>
                    <a:pt x="63397" y="0"/>
                    <a:pt x="190192" y="0"/>
                  </a:cubicBezTo>
                  <a:lnTo>
                    <a:pt x="268892" y="0"/>
                  </a:lnTo>
                  <a:cubicBezTo>
                    <a:pt x="397872" y="0"/>
                    <a:pt x="461269" y="63397"/>
                    <a:pt x="461269" y="192378"/>
                  </a:cubicBezTo>
                  <a:lnTo>
                    <a:pt x="461269" y="638345"/>
                  </a:lnTo>
                  <a:close/>
                  <a:moveTo>
                    <a:pt x="137725" y="351964"/>
                  </a:moveTo>
                  <a:lnTo>
                    <a:pt x="323544" y="351964"/>
                  </a:lnTo>
                  <a:lnTo>
                    <a:pt x="323544" y="201122"/>
                  </a:lnTo>
                  <a:cubicBezTo>
                    <a:pt x="323544" y="163958"/>
                    <a:pt x="295125" y="135539"/>
                    <a:pt x="262333" y="135539"/>
                  </a:cubicBezTo>
                  <a:lnTo>
                    <a:pt x="198936" y="135539"/>
                  </a:lnTo>
                  <a:cubicBezTo>
                    <a:pt x="163958" y="135539"/>
                    <a:pt x="137725" y="161772"/>
                    <a:pt x="137725" y="194564"/>
                  </a:cubicBezTo>
                  <a:lnTo>
                    <a:pt x="137725" y="351964"/>
                  </a:lnTo>
                  <a:close/>
                </a:path>
              </a:pathLst>
            </a:custGeom>
            <a:grpFill/>
            <a:ln w="21819" cap="flat">
              <a:noFill/>
              <a:prstDash val="solid"/>
              <a:miter/>
            </a:ln>
          </p:spPr>
          <p:txBody>
            <a:bodyPr rtlCol="0" anchor="ctr"/>
            <a:lstStyle/>
            <a:p>
              <a:endParaRPr lang="de-DE"/>
            </a:p>
          </p:txBody>
        </p:sp>
        <p:sp>
          <p:nvSpPr>
            <p:cNvPr id="15" name="Freihandform: Form 14">
              <a:extLst>
                <a:ext uri="{FF2B5EF4-FFF2-40B4-BE49-F238E27FC236}">
                  <a16:creationId xmlns:a16="http://schemas.microsoft.com/office/drawing/2014/main" id="{FE05E407-C6DF-08CC-4F3A-2CA60220EB7D}"/>
                </a:ext>
              </a:extLst>
            </p:cNvPr>
            <p:cNvSpPr/>
            <p:nvPr/>
          </p:nvSpPr>
          <p:spPr>
            <a:xfrm>
              <a:off x="4205272" y="4495188"/>
              <a:ext cx="327916" cy="638344"/>
            </a:xfrm>
            <a:custGeom>
              <a:avLst/>
              <a:gdLst>
                <a:gd name="connsiteX0" fmla="*/ 327917 w 327916"/>
                <a:gd name="connsiteY0" fmla="*/ 638345 h 638344"/>
                <a:gd name="connsiteX1" fmla="*/ 0 w 327916"/>
                <a:gd name="connsiteY1" fmla="*/ 638345 h 638344"/>
                <a:gd name="connsiteX2" fmla="*/ 0 w 327916"/>
                <a:gd name="connsiteY2" fmla="*/ 0 h 638344"/>
                <a:gd name="connsiteX3" fmla="*/ 137725 w 327916"/>
                <a:gd name="connsiteY3" fmla="*/ 0 h 638344"/>
                <a:gd name="connsiteX4" fmla="*/ 137725 w 327916"/>
                <a:gd name="connsiteY4" fmla="*/ 500620 h 638344"/>
                <a:gd name="connsiteX5" fmla="*/ 327917 w 327916"/>
                <a:gd name="connsiteY5" fmla="*/ 500620 h 638344"/>
                <a:gd name="connsiteX6" fmla="*/ 327917 w 327916"/>
                <a:gd name="connsiteY6" fmla="*/ 638345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916" h="638344">
                  <a:moveTo>
                    <a:pt x="327917" y="638345"/>
                  </a:moveTo>
                  <a:lnTo>
                    <a:pt x="0" y="638345"/>
                  </a:lnTo>
                  <a:lnTo>
                    <a:pt x="0" y="0"/>
                  </a:lnTo>
                  <a:lnTo>
                    <a:pt x="137725" y="0"/>
                  </a:lnTo>
                  <a:lnTo>
                    <a:pt x="137725" y="500620"/>
                  </a:lnTo>
                  <a:lnTo>
                    <a:pt x="327917" y="500620"/>
                  </a:lnTo>
                  <a:lnTo>
                    <a:pt x="327917" y="638345"/>
                  </a:lnTo>
                  <a:close/>
                </a:path>
              </a:pathLst>
            </a:custGeom>
            <a:grpFill/>
            <a:ln w="21819" cap="flat">
              <a:noFill/>
              <a:prstDash val="solid"/>
              <a:miter/>
            </a:ln>
          </p:spPr>
          <p:txBody>
            <a:bodyPr rtlCol="0" anchor="ctr"/>
            <a:lstStyle/>
            <a:p>
              <a:endParaRPr lang="de-DE"/>
            </a:p>
          </p:txBody>
        </p:sp>
        <p:sp>
          <p:nvSpPr>
            <p:cNvPr id="16" name="Freihandform: Form 15">
              <a:extLst>
                <a:ext uri="{FF2B5EF4-FFF2-40B4-BE49-F238E27FC236}">
                  <a16:creationId xmlns:a16="http://schemas.microsoft.com/office/drawing/2014/main" id="{E1516811-FCE2-0660-666D-A2D732740889}"/>
                </a:ext>
              </a:extLst>
            </p:cNvPr>
            <p:cNvSpPr/>
            <p:nvPr/>
          </p:nvSpPr>
          <p:spPr>
            <a:xfrm>
              <a:off x="4627192" y="4495188"/>
              <a:ext cx="327916" cy="638344"/>
            </a:xfrm>
            <a:custGeom>
              <a:avLst/>
              <a:gdLst>
                <a:gd name="connsiteX0" fmla="*/ 325730 w 327916"/>
                <a:gd name="connsiteY0" fmla="*/ 638345 h 638344"/>
                <a:gd name="connsiteX1" fmla="*/ 0 w 327916"/>
                <a:gd name="connsiteY1" fmla="*/ 638345 h 638344"/>
                <a:gd name="connsiteX2" fmla="*/ 0 w 327916"/>
                <a:gd name="connsiteY2" fmla="*/ 0 h 638344"/>
                <a:gd name="connsiteX3" fmla="*/ 137725 w 327916"/>
                <a:gd name="connsiteY3" fmla="*/ 0 h 638344"/>
                <a:gd name="connsiteX4" fmla="*/ 137725 w 327916"/>
                <a:gd name="connsiteY4" fmla="*/ 500620 h 638344"/>
                <a:gd name="connsiteX5" fmla="*/ 327917 w 327916"/>
                <a:gd name="connsiteY5" fmla="*/ 500620 h 638344"/>
                <a:gd name="connsiteX6" fmla="*/ 327917 w 327916"/>
                <a:gd name="connsiteY6" fmla="*/ 638345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916" h="638344">
                  <a:moveTo>
                    <a:pt x="325730" y="638345"/>
                  </a:moveTo>
                  <a:lnTo>
                    <a:pt x="0" y="638345"/>
                  </a:lnTo>
                  <a:lnTo>
                    <a:pt x="0" y="0"/>
                  </a:lnTo>
                  <a:lnTo>
                    <a:pt x="137725" y="0"/>
                  </a:lnTo>
                  <a:lnTo>
                    <a:pt x="137725" y="500620"/>
                  </a:lnTo>
                  <a:lnTo>
                    <a:pt x="327917" y="500620"/>
                  </a:lnTo>
                  <a:lnTo>
                    <a:pt x="327917" y="638345"/>
                  </a:lnTo>
                  <a:close/>
                </a:path>
              </a:pathLst>
            </a:custGeom>
            <a:grpFill/>
            <a:ln w="21819" cap="flat">
              <a:noFill/>
              <a:prstDash val="solid"/>
              <a:miter/>
            </a:ln>
          </p:spPr>
          <p:txBody>
            <a:bodyPr rtlCol="0" anchor="ctr"/>
            <a:lstStyle/>
            <a:p>
              <a:endParaRPr lang="de-DE"/>
            </a:p>
          </p:txBody>
        </p:sp>
        <p:sp>
          <p:nvSpPr>
            <p:cNvPr id="17" name="Freihandform: Form 16">
              <a:extLst>
                <a:ext uri="{FF2B5EF4-FFF2-40B4-BE49-F238E27FC236}">
                  <a16:creationId xmlns:a16="http://schemas.microsoft.com/office/drawing/2014/main" id="{3E398B7D-13B2-305A-4225-66B9B685EE4A}"/>
                </a:ext>
              </a:extLst>
            </p:cNvPr>
            <p:cNvSpPr/>
            <p:nvPr/>
          </p:nvSpPr>
          <p:spPr>
            <a:xfrm>
              <a:off x="5849228" y="4495188"/>
              <a:ext cx="349777" cy="638344"/>
            </a:xfrm>
            <a:custGeom>
              <a:avLst/>
              <a:gdLst>
                <a:gd name="connsiteX0" fmla="*/ 349778 w 349777"/>
                <a:gd name="connsiteY0" fmla="*/ 638345 h 638344"/>
                <a:gd name="connsiteX1" fmla="*/ 0 w 349777"/>
                <a:gd name="connsiteY1" fmla="*/ 638345 h 638344"/>
                <a:gd name="connsiteX2" fmla="*/ 0 w 349777"/>
                <a:gd name="connsiteY2" fmla="*/ 0 h 638344"/>
                <a:gd name="connsiteX3" fmla="*/ 349778 w 349777"/>
                <a:gd name="connsiteY3" fmla="*/ 0 h 638344"/>
                <a:gd name="connsiteX4" fmla="*/ 349778 w 349777"/>
                <a:gd name="connsiteY4" fmla="*/ 137725 h 638344"/>
                <a:gd name="connsiteX5" fmla="*/ 137725 w 349777"/>
                <a:gd name="connsiteY5" fmla="*/ 137725 h 638344"/>
                <a:gd name="connsiteX6" fmla="*/ 137725 w 349777"/>
                <a:gd name="connsiteY6" fmla="*/ 251403 h 638344"/>
                <a:gd name="connsiteX7" fmla="*/ 349778 w 349777"/>
                <a:gd name="connsiteY7" fmla="*/ 251403 h 638344"/>
                <a:gd name="connsiteX8" fmla="*/ 349778 w 349777"/>
                <a:gd name="connsiteY8" fmla="*/ 389128 h 638344"/>
                <a:gd name="connsiteX9" fmla="*/ 137725 w 349777"/>
                <a:gd name="connsiteY9" fmla="*/ 389128 h 638344"/>
                <a:gd name="connsiteX10" fmla="*/ 137725 w 349777"/>
                <a:gd name="connsiteY10" fmla="*/ 500620 h 638344"/>
                <a:gd name="connsiteX11" fmla="*/ 349778 w 349777"/>
                <a:gd name="connsiteY11" fmla="*/ 500620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9777" h="638344">
                  <a:moveTo>
                    <a:pt x="349778" y="638345"/>
                  </a:moveTo>
                  <a:lnTo>
                    <a:pt x="0" y="638345"/>
                  </a:lnTo>
                  <a:lnTo>
                    <a:pt x="0" y="0"/>
                  </a:lnTo>
                  <a:lnTo>
                    <a:pt x="349778" y="0"/>
                  </a:lnTo>
                  <a:lnTo>
                    <a:pt x="349778" y="137725"/>
                  </a:lnTo>
                  <a:lnTo>
                    <a:pt x="137725" y="137725"/>
                  </a:lnTo>
                  <a:lnTo>
                    <a:pt x="137725" y="251403"/>
                  </a:lnTo>
                  <a:lnTo>
                    <a:pt x="349778" y="251403"/>
                  </a:lnTo>
                  <a:lnTo>
                    <a:pt x="349778" y="389128"/>
                  </a:lnTo>
                  <a:lnTo>
                    <a:pt x="137725" y="389128"/>
                  </a:lnTo>
                  <a:lnTo>
                    <a:pt x="137725" y="500620"/>
                  </a:lnTo>
                  <a:lnTo>
                    <a:pt x="349778" y="500620"/>
                  </a:lnTo>
                  <a:close/>
                </a:path>
              </a:pathLst>
            </a:custGeom>
            <a:grpFill/>
            <a:ln w="21819"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39672878-1605-C083-EE32-74BE4AC292B1}"/>
                </a:ext>
              </a:extLst>
            </p:cNvPr>
            <p:cNvSpPr/>
            <p:nvPr/>
          </p:nvSpPr>
          <p:spPr>
            <a:xfrm>
              <a:off x="6321428" y="4495188"/>
              <a:ext cx="441594" cy="638344"/>
            </a:xfrm>
            <a:custGeom>
              <a:avLst/>
              <a:gdLst>
                <a:gd name="connsiteX0" fmla="*/ 439408 w 441594"/>
                <a:gd name="connsiteY0" fmla="*/ 450339 h 638344"/>
                <a:gd name="connsiteX1" fmla="*/ 391314 w 441594"/>
                <a:gd name="connsiteY1" fmla="*/ 360708 h 638344"/>
                <a:gd name="connsiteX2" fmla="*/ 439408 w 441594"/>
                <a:gd name="connsiteY2" fmla="*/ 273264 h 638344"/>
                <a:gd name="connsiteX3" fmla="*/ 439408 w 441594"/>
                <a:gd name="connsiteY3" fmla="*/ 179261 h 638344"/>
                <a:gd name="connsiteX4" fmla="*/ 266706 w 441594"/>
                <a:gd name="connsiteY4" fmla="*/ 0 h 638344"/>
                <a:gd name="connsiteX5" fmla="*/ 0 w 441594"/>
                <a:gd name="connsiteY5" fmla="*/ 0 h 638344"/>
                <a:gd name="connsiteX6" fmla="*/ 0 w 441594"/>
                <a:gd name="connsiteY6" fmla="*/ 638345 h 638344"/>
                <a:gd name="connsiteX7" fmla="*/ 137725 w 441594"/>
                <a:gd name="connsiteY7" fmla="*/ 638345 h 638344"/>
                <a:gd name="connsiteX8" fmla="*/ 137725 w 441594"/>
                <a:gd name="connsiteY8" fmla="*/ 435036 h 638344"/>
                <a:gd name="connsiteX9" fmla="*/ 251403 w 441594"/>
                <a:gd name="connsiteY9" fmla="*/ 435036 h 638344"/>
                <a:gd name="connsiteX10" fmla="*/ 314800 w 441594"/>
                <a:gd name="connsiteY10" fmla="*/ 500620 h 638344"/>
                <a:gd name="connsiteX11" fmla="*/ 314800 w 441594"/>
                <a:gd name="connsiteY11" fmla="*/ 638345 h 638344"/>
                <a:gd name="connsiteX12" fmla="*/ 441594 w 441594"/>
                <a:gd name="connsiteY12" fmla="*/ 638345 h 638344"/>
                <a:gd name="connsiteX13" fmla="*/ 439408 w 441594"/>
                <a:gd name="connsiteY13" fmla="*/ 450339 h 638344"/>
                <a:gd name="connsiteX14" fmla="*/ 312614 w 441594"/>
                <a:gd name="connsiteY14" fmla="*/ 244844 h 638344"/>
                <a:gd name="connsiteX15" fmla="*/ 251403 w 441594"/>
                <a:gd name="connsiteY15" fmla="*/ 306056 h 638344"/>
                <a:gd name="connsiteX16" fmla="*/ 137725 w 441594"/>
                <a:gd name="connsiteY16" fmla="*/ 306056 h 638344"/>
                <a:gd name="connsiteX17" fmla="*/ 137725 w 441594"/>
                <a:gd name="connsiteY17" fmla="*/ 135539 h 638344"/>
                <a:gd name="connsiteX18" fmla="*/ 251403 w 441594"/>
                <a:gd name="connsiteY18" fmla="*/ 135539 h 638344"/>
                <a:gd name="connsiteX19" fmla="*/ 314800 w 441594"/>
                <a:gd name="connsiteY19" fmla="*/ 196750 h 638344"/>
                <a:gd name="connsiteX20" fmla="*/ 314800 w 441594"/>
                <a:gd name="connsiteY20" fmla="*/ 244844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41594" h="638344">
                  <a:moveTo>
                    <a:pt x="439408" y="450339"/>
                  </a:moveTo>
                  <a:cubicBezTo>
                    <a:pt x="439408" y="395686"/>
                    <a:pt x="406617" y="369453"/>
                    <a:pt x="391314" y="360708"/>
                  </a:cubicBezTo>
                  <a:cubicBezTo>
                    <a:pt x="408803" y="349778"/>
                    <a:pt x="439408" y="323545"/>
                    <a:pt x="439408" y="273264"/>
                  </a:cubicBezTo>
                  <a:cubicBezTo>
                    <a:pt x="439408" y="238286"/>
                    <a:pt x="439408" y="179261"/>
                    <a:pt x="439408" y="179261"/>
                  </a:cubicBezTo>
                  <a:cubicBezTo>
                    <a:pt x="439408" y="26233"/>
                    <a:pt x="384755" y="0"/>
                    <a:pt x="266706" y="0"/>
                  </a:cubicBezTo>
                  <a:lnTo>
                    <a:pt x="0" y="0"/>
                  </a:lnTo>
                  <a:lnTo>
                    <a:pt x="0" y="638345"/>
                  </a:lnTo>
                  <a:lnTo>
                    <a:pt x="137725" y="638345"/>
                  </a:lnTo>
                  <a:lnTo>
                    <a:pt x="137725" y="435036"/>
                  </a:lnTo>
                  <a:lnTo>
                    <a:pt x="251403" y="435036"/>
                  </a:lnTo>
                  <a:cubicBezTo>
                    <a:pt x="301683" y="435036"/>
                    <a:pt x="314800" y="459083"/>
                    <a:pt x="314800" y="500620"/>
                  </a:cubicBezTo>
                  <a:lnTo>
                    <a:pt x="314800" y="638345"/>
                  </a:lnTo>
                  <a:lnTo>
                    <a:pt x="441594" y="638345"/>
                  </a:lnTo>
                  <a:lnTo>
                    <a:pt x="439408" y="450339"/>
                  </a:lnTo>
                  <a:close/>
                  <a:moveTo>
                    <a:pt x="312614" y="244844"/>
                  </a:moveTo>
                  <a:cubicBezTo>
                    <a:pt x="312614" y="277636"/>
                    <a:pt x="284195" y="306056"/>
                    <a:pt x="251403" y="306056"/>
                  </a:cubicBezTo>
                  <a:lnTo>
                    <a:pt x="137725" y="306056"/>
                  </a:lnTo>
                  <a:lnTo>
                    <a:pt x="137725" y="135539"/>
                  </a:lnTo>
                  <a:lnTo>
                    <a:pt x="251403" y="135539"/>
                  </a:lnTo>
                  <a:cubicBezTo>
                    <a:pt x="290753" y="135539"/>
                    <a:pt x="314800" y="166144"/>
                    <a:pt x="314800" y="196750"/>
                  </a:cubicBezTo>
                  <a:lnTo>
                    <a:pt x="314800" y="244844"/>
                  </a:lnTo>
                  <a:close/>
                </a:path>
              </a:pathLst>
            </a:custGeom>
            <a:grpFill/>
            <a:ln w="21819"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B5FC74D8-4B15-4212-19F6-68E4D1C9A504}"/>
                </a:ext>
              </a:extLst>
            </p:cNvPr>
            <p:cNvSpPr/>
            <p:nvPr/>
          </p:nvSpPr>
          <p:spPr>
            <a:xfrm>
              <a:off x="5055670" y="4495188"/>
              <a:ext cx="675508" cy="642716"/>
            </a:xfrm>
            <a:custGeom>
              <a:avLst/>
              <a:gdLst>
                <a:gd name="connsiteX0" fmla="*/ 489689 w 675508"/>
                <a:gd name="connsiteY0" fmla="*/ 0 h 642716"/>
                <a:gd name="connsiteX1" fmla="*/ 424106 w 675508"/>
                <a:gd name="connsiteY1" fmla="*/ 0 h 642716"/>
                <a:gd name="connsiteX2" fmla="*/ 334475 w 675508"/>
                <a:gd name="connsiteY2" fmla="*/ 48094 h 642716"/>
                <a:gd name="connsiteX3" fmla="*/ 247031 w 675508"/>
                <a:gd name="connsiteY3" fmla="*/ 0 h 642716"/>
                <a:gd name="connsiteX4" fmla="*/ 181447 w 675508"/>
                <a:gd name="connsiteY4" fmla="*/ 0 h 642716"/>
                <a:gd name="connsiteX5" fmla="*/ 0 w 675508"/>
                <a:gd name="connsiteY5" fmla="*/ 192378 h 642716"/>
                <a:gd name="connsiteX6" fmla="*/ 0 w 675508"/>
                <a:gd name="connsiteY6" fmla="*/ 640531 h 642716"/>
                <a:gd name="connsiteX7" fmla="*/ 135539 w 675508"/>
                <a:gd name="connsiteY7" fmla="*/ 640531 h 642716"/>
                <a:gd name="connsiteX8" fmla="*/ 135539 w 675508"/>
                <a:gd name="connsiteY8" fmla="*/ 177075 h 642716"/>
                <a:gd name="connsiteX9" fmla="*/ 139911 w 675508"/>
                <a:gd name="connsiteY9" fmla="*/ 155214 h 642716"/>
                <a:gd name="connsiteX10" fmla="*/ 155214 w 675508"/>
                <a:gd name="connsiteY10" fmla="*/ 150842 h 642716"/>
                <a:gd name="connsiteX11" fmla="*/ 249217 w 675508"/>
                <a:gd name="connsiteY11" fmla="*/ 150842 h 642716"/>
                <a:gd name="connsiteX12" fmla="*/ 264519 w 675508"/>
                <a:gd name="connsiteY12" fmla="*/ 155214 h 642716"/>
                <a:gd name="connsiteX13" fmla="*/ 268892 w 675508"/>
                <a:gd name="connsiteY13" fmla="*/ 179261 h 642716"/>
                <a:gd name="connsiteX14" fmla="*/ 268892 w 675508"/>
                <a:gd name="connsiteY14" fmla="*/ 642717 h 642716"/>
                <a:gd name="connsiteX15" fmla="*/ 268892 w 675508"/>
                <a:gd name="connsiteY15" fmla="*/ 642717 h 642716"/>
                <a:gd name="connsiteX16" fmla="*/ 406617 w 675508"/>
                <a:gd name="connsiteY16" fmla="*/ 642717 h 642716"/>
                <a:gd name="connsiteX17" fmla="*/ 406617 w 675508"/>
                <a:gd name="connsiteY17" fmla="*/ 179261 h 642716"/>
                <a:gd name="connsiteX18" fmla="*/ 410989 w 675508"/>
                <a:gd name="connsiteY18" fmla="*/ 155214 h 642716"/>
                <a:gd name="connsiteX19" fmla="*/ 426292 w 675508"/>
                <a:gd name="connsiteY19" fmla="*/ 150842 h 642716"/>
                <a:gd name="connsiteX20" fmla="*/ 520294 w 675508"/>
                <a:gd name="connsiteY20" fmla="*/ 150842 h 642716"/>
                <a:gd name="connsiteX21" fmla="*/ 535597 w 675508"/>
                <a:gd name="connsiteY21" fmla="*/ 155214 h 642716"/>
                <a:gd name="connsiteX22" fmla="*/ 539970 w 675508"/>
                <a:gd name="connsiteY22" fmla="*/ 177075 h 642716"/>
                <a:gd name="connsiteX23" fmla="*/ 539970 w 675508"/>
                <a:gd name="connsiteY23" fmla="*/ 640531 h 642716"/>
                <a:gd name="connsiteX24" fmla="*/ 675509 w 675508"/>
                <a:gd name="connsiteY24" fmla="*/ 640531 h 642716"/>
                <a:gd name="connsiteX25" fmla="*/ 675509 w 675508"/>
                <a:gd name="connsiteY25" fmla="*/ 192378 h 642716"/>
                <a:gd name="connsiteX26" fmla="*/ 489689 w 675508"/>
                <a:gd name="connsiteY26" fmla="*/ 0 h 642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5508" h="642716">
                  <a:moveTo>
                    <a:pt x="489689" y="0"/>
                  </a:moveTo>
                  <a:lnTo>
                    <a:pt x="424106" y="0"/>
                  </a:lnTo>
                  <a:cubicBezTo>
                    <a:pt x="369453" y="0"/>
                    <a:pt x="343220" y="32792"/>
                    <a:pt x="334475" y="48094"/>
                  </a:cubicBezTo>
                  <a:cubicBezTo>
                    <a:pt x="323544" y="30606"/>
                    <a:pt x="297311" y="0"/>
                    <a:pt x="247031" y="0"/>
                  </a:cubicBezTo>
                  <a:lnTo>
                    <a:pt x="181447" y="0"/>
                  </a:lnTo>
                  <a:cubicBezTo>
                    <a:pt x="43722" y="0"/>
                    <a:pt x="0" y="26233"/>
                    <a:pt x="0" y="192378"/>
                  </a:cubicBezTo>
                  <a:lnTo>
                    <a:pt x="0" y="640531"/>
                  </a:lnTo>
                  <a:lnTo>
                    <a:pt x="135539" y="640531"/>
                  </a:lnTo>
                  <a:lnTo>
                    <a:pt x="135539" y="177075"/>
                  </a:lnTo>
                  <a:cubicBezTo>
                    <a:pt x="135539" y="163958"/>
                    <a:pt x="135539" y="157400"/>
                    <a:pt x="139911" y="155214"/>
                  </a:cubicBezTo>
                  <a:cubicBezTo>
                    <a:pt x="142097" y="153028"/>
                    <a:pt x="148655" y="150842"/>
                    <a:pt x="155214" y="150842"/>
                  </a:cubicBezTo>
                  <a:lnTo>
                    <a:pt x="249217" y="150842"/>
                  </a:lnTo>
                  <a:cubicBezTo>
                    <a:pt x="255775" y="150842"/>
                    <a:pt x="260147" y="150842"/>
                    <a:pt x="264519" y="155214"/>
                  </a:cubicBezTo>
                  <a:cubicBezTo>
                    <a:pt x="268892" y="159586"/>
                    <a:pt x="268892" y="163958"/>
                    <a:pt x="268892" y="179261"/>
                  </a:cubicBezTo>
                  <a:lnTo>
                    <a:pt x="268892" y="642717"/>
                  </a:lnTo>
                  <a:lnTo>
                    <a:pt x="268892" y="642717"/>
                  </a:lnTo>
                  <a:lnTo>
                    <a:pt x="406617" y="642717"/>
                  </a:lnTo>
                  <a:lnTo>
                    <a:pt x="406617" y="179261"/>
                  </a:lnTo>
                  <a:cubicBezTo>
                    <a:pt x="406617" y="166144"/>
                    <a:pt x="406617" y="159586"/>
                    <a:pt x="410989" y="155214"/>
                  </a:cubicBezTo>
                  <a:cubicBezTo>
                    <a:pt x="413175" y="153028"/>
                    <a:pt x="419734" y="150842"/>
                    <a:pt x="426292" y="150842"/>
                  </a:cubicBezTo>
                  <a:lnTo>
                    <a:pt x="520294" y="150842"/>
                  </a:lnTo>
                  <a:cubicBezTo>
                    <a:pt x="526853" y="150842"/>
                    <a:pt x="533411" y="150842"/>
                    <a:pt x="535597" y="155214"/>
                  </a:cubicBezTo>
                  <a:cubicBezTo>
                    <a:pt x="539970" y="159586"/>
                    <a:pt x="539970" y="163958"/>
                    <a:pt x="539970" y="177075"/>
                  </a:cubicBezTo>
                  <a:lnTo>
                    <a:pt x="539970" y="640531"/>
                  </a:lnTo>
                  <a:lnTo>
                    <a:pt x="675509" y="640531"/>
                  </a:lnTo>
                  <a:lnTo>
                    <a:pt x="675509" y="192378"/>
                  </a:lnTo>
                  <a:cubicBezTo>
                    <a:pt x="671136" y="26233"/>
                    <a:pt x="627414" y="0"/>
                    <a:pt x="489689" y="0"/>
                  </a:cubicBezTo>
                  <a:close/>
                </a:path>
              </a:pathLst>
            </a:custGeom>
            <a:grpFill/>
            <a:ln w="21819" cap="flat">
              <a:noFill/>
              <a:prstDash val="solid"/>
              <a:miter/>
            </a:ln>
          </p:spPr>
          <p:txBody>
            <a:bodyPr rtlCol="0" anchor="ctr"/>
            <a:lstStyle/>
            <a:p>
              <a:endParaRPr lang="de-DE"/>
            </a:p>
          </p:txBody>
        </p:sp>
      </p:grpSp>
      <p:sp>
        <p:nvSpPr>
          <p:cNvPr id="2" name="Datumsplatzhalter 1">
            <a:extLst>
              <a:ext uri="{FF2B5EF4-FFF2-40B4-BE49-F238E27FC236}">
                <a16:creationId xmlns:a16="http://schemas.microsoft.com/office/drawing/2014/main" id="{0912F03A-E39C-E683-E858-F86B1B9E006F}"/>
              </a:ext>
            </a:extLst>
          </p:cNvPr>
          <p:cNvSpPr>
            <a:spLocks noGrp="1"/>
          </p:cNvSpPr>
          <p:nvPr>
            <p:ph type="dt" sz="half" idx="10"/>
          </p:nvPr>
        </p:nvSpPr>
        <p:spPr/>
        <p:txBody>
          <a:bodyPr/>
          <a:lstStyle>
            <a:lvl1pPr>
              <a:defRPr>
                <a:solidFill>
                  <a:schemeClr val="bg1"/>
                </a:solidFill>
              </a:defRPr>
            </a:lvl1pPr>
          </a:lstStyle>
          <a:p>
            <a:r>
              <a:rPr lang="de-DE"/>
              <a:t>3/18/2024</a:t>
            </a:r>
            <a:endParaRPr lang="de-DE" dirty="0"/>
          </a:p>
        </p:txBody>
      </p:sp>
      <p:sp>
        <p:nvSpPr>
          <p:cNvPr id="4" name="Fußzeilenplatzhalter 3">
            <a:extLst>
              <a:ext uri="{FF2B5EF4-FFF2-40B4-BE49-F238E27FC236}">
                <a16:creationId xmlns:a16="http://schemas.microsoft.com/office/drawing/2014/main" id="{407F22B3-5636-6464-4865-6D0E3C5335E8}"/>
              </a:ext>
            </a:extLst>
          </p:cNvPr>
          <p:cNvSpPr>
            <a:spLocks noGrp="1"/>
          </p:cNvSpPr>
          <p:nvPr>
            <p:ph type="ftr" sz="quarter" idx="11"/>
          </p:nvPr>
        </p:nvSpPr>
        <p:spPr/>
        <p:txBody>
          <a:bodyPr/>
          <a:lstStyle>
            <a:lvl1pPr>
              <a:defRPr>
                <a:solidFill>
                  <a:schemeClr val="bg1"/>
                </a:solidFill>
              </a:defRPr>
            </a:lvl1pPr>
          </a:lstStyle>
          <a:p>
            <a:endParaRPr lang="de-DE" dirty="0"/>
          </a:p>
        </p:txBody>
      </p:sp>
      <p:sp>
        <p:nvSpPr>
          <p:cNvPr id="5" name="Foliennummernplatzhalter 4">
            <a:extLst>
              <a:ext uri="{FF2B5EF4-FFF2-40B4-BE49-F238E27FC236}">
                <a16:creationId xmlns:a16="http://schemas.microsoft.com/office/drawing/2014/main" id="{2002063C-981A-23CB-2A93-F6BA60F092FA}"/>
              </a:ext>
            </a:extLst>
          </p:cNvPr>
          <p:cNvSpPr>
            <a:spLocks noGrp="1"/>
          </p:cNvSpPr>
          <p:nvPr>
            <p:ph type="sldNum" sz="quarter" idx="12"/>
          </p:nvPr>
        </p:nvSpPr>
        <p:spPr/>
        <p:txBody>
          <a:bodyPr/>
          <a:lstStyle>
            <a:lvl1pPr>
              <a:defRPr>
                <a:solidFill>
                  <a:schemeClr val="bg1"/>
                </a:solidFill>
              </a:defRPr>
            </a:lvl1pPr>
          </a:lstStyle>
          <a:p>
            <a:r>
              <a:rPr lang="de-DE"/>
              <a:t>Seite </a:t>
            </a:r>
            <a:fld id="{63A738E5-7FE5-4F0E-80D4-9B95A408A0CB}" type="slidenum">
              <a:rPr lang="de-DE" smtClean="0"/>
              <a:pPr/>
              <a:t>‹Nr.›</a:t>
            </a:fld>
            <a:endParaRPr lang="de-DE" dirty="0"/>
          </a:p>
        </p:txBody>
      </p:sp>
    </p:spTree>
    <p:extLst>
      <p:ext uri="{BB962C8B-B14F-4D97-AF65-F5344CB8AC3E}">
        <p14:creationId xmlns:p14="http://schemas.microsoft.com/office/powerpoint/2010/main" val="36011530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hell">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977EB5B-8228-C601-1176-E715BE9D4B28}"/>
              </a:ext>
            </a:extLst>
          </p:cNvPr>
          <p:cNvGraphicFramePr>
            <a:graphicFrameLocks noChangeAspect="1"/>
          </p:cNvGraphicFramePr>
          <p:nvPr userDrawn="1">
            <p:custDataLst>
              <p:tags r:id="rId2"/>
            </p:custDataLst>
            <p:extLst>
              <p:ext uri="{D42A27DB-BD31-4B8C-83A1-F6EECF244321}">
                <p14:modId xmlns:p14="http://schemas.microsoft.com/office/powerpoint/2010/main" val="3255957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4" name="think-cell Folie" r:id="rId4" imgW="592" imgH="591" progId="TCLayout.ActiveDocument.1">
                  <p:embed/>
                </p:oleObj>
              </mc:Choice>
              <mc:Fallback>
                <p:oleObj name="think-cell Folie" r:id="rId4" imgW="592" imgH="591" progId="TCLayout.ActiveDocument.1">
                  <p:embed/>
                  <p:pic>
                    <p:nvPicPr>
                      <p:cNvPr id="11" name="think-cell data - do not delete" hidden="1">
                        <a:extLst>
                          <a:ext uri="{FF2B5EF4-FFF2-40B4-BE49-F238E27FC236}">
                            <a16:creationId xmlns:a16="http://schemas.microsoft.com/office/drawing/2014/main" id="{4977EB5B-8228-C601-1176-E715BE9D4B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A50FCC40-B9BD-CC74-817B-4FE8B7ABC4EC}"/>
              </a:ext>
            </a:extLst>
          </p:cNvPr>
          <p:cNvSpPr>
            <a:spLocks noGrp="1"/>
          </p:cNvSpPr>
          <p:nvPr>
            <p:ph idx="1"/>
          </p:nvPr>
        </p:nvSpPr>
        <p:spPr>
          <a:xfrm>
            <a:off x="407989" y="404813"/>
            <a:ext cx="11376024" cy="5772150"/>
          </a:xfrm>
        </p:spPr>
        <p:txBody>
          <a:bodyPr/>
          <a:lstStyle>
            <a:lvl1pPr marL="806450" indent="-806450">
              <a:spcBef>
                <a:spcPts val="0"/>
              </a:spcBef>
              <a:spcAft>
                <a:spcPts val="600"/>
              </a:spcAft>
              <a:buFontTx/>
              <a:buNone/>
              <a:defRPr sz="3500">
                <a:solidFill>
                  <a:schemeClr val="tx1"/>
                </a:solidFill>
              </a:defRPr>
            </a:lvl1pPr>
            <a:lvl2pPr marL="806450" indent="-806450">
              <a:spcBef>
                <a:spcPts val="0"/>
              </a:spcBef>
              <a:spcAft>
                <a:spcPts val="600"/>
              </a:spcAft>
              <a:buFontTx/>
              <a:buNone/>
              <a:defRPr sz="3500">
                <a:solidFill>
                  <a:schemeClr val="accent1"/>
                </a:solidFill>
              </a:defRPr>
            </a:lvl2pPr>
            <a:lvl3pPr marL="806450" indent="-806450">
              <a:spcBef>
                <a:spcPts val="0"/>
              </a:spcBef>
              <a:spcAft>
                <a:spcPts val="600"/>
              </a:spcAft>
              <a:buFontTx/>
              <a:buNone/>
              <a:tabLst>
                <a:tab pos="1970088" algn="l"/>
              </a:tabLst>
              <a:defRPr sz="3500">
                <a:solidFill>
                  <a:schemeClr val="tx1"/>
                </a:solidFill>
              </a:defRPr>
            </a:lvl3pPr>
            <a:lvl4pPr marL="806450" indent="-806450">
              <a:spcBef>
                <a:spcPts val="0"/>
              </a:spcBef>
              <a:spcAft>
                <a:spcPts val="600"/>
              </a:spcAft>
              <a:buFontTx/>
              <a:buNone/>
              <a:tabLst>
                <a:tab pos="1970088" algn="l"/>
              </a:tabLst>
              <a:defRPr sz="3500">
                <a:solidFill>
                  <a:schemeClr val="tx1"/>
                </a:solidFill>
              </a:defRPr>
            </a:lvl4pPr>
            <a:lvl5pPr marL="806450" indent="-806450">
              <a:spcBef>
                <a:spcPts val="0"/>
              </a:spcBef>
              <a:spcAft>
                <a:spcPts val="600"/>
              </a:spcAft>
              <a:buFontTx/>
              <a:buNone/>
              <a:tabLst>
                <a:tab pos="1970088" algn="l"/>
              </a:tabLst>
              <a:defRPr sz="35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umsplatzhalter 6">
            <a:extLst>
              <a:ext uri="{FF2B5EF4-FFF2-40B4-BE49-F238E27FC236}">
                <a16:creationId xmlns:a16="http://schemas.microsoft.com/office/drawing/2014/main" id="{72982C96-07FC-4385-5D0D-49665F9278F4}"/>
              </a:ext>
            </a:extLst>
          </p:cNvPr>
          <p:cNvSpPr>
            <a:spLocks noGrp="1"/>
          </p:cNvSpPr>
          <p:nvPr>
            <p:ph type="dt" sz="half" idx="10"/>
          </p:nvPr>
        </p:nvSpPr>
        <p:spPr/>
        <p:txBody>
          <a:bodyPr/>
          <a:lstStyle/>
          <a:p>
            <a:r>
              <a:rPr lang="de-DE"/>
              <a:t>3/18/2024</a:t>
            </a:r>
            <a:endParaRPr lang="de-DE" dirty="0"/>
          </a:p>
        </p:txBody>
      </p:sp>
      <p:sp>
        <p:nvSpPr>
          <p:cNvPr id="8" name="Fußzeilenplatzhalter 7">
            <a:extLst>
              <a:ext uri="{FF2B5EF4-FFF2-40B4-BE49-F238E27FC236}">
                <a16:creationId xmlns:a16="http://schemas.microsoft.com/office/drawing/2014/main" id="{E55BFC90-C6B1-7999-78DB-FF625BA8356B}"/>
              </a:ext>
            </a:extLst>
          </p:cNvPr>
          <p:cNvSpPr>
            <a:spLocks noGrp="1"/>
          </p:cNvSpPr>
          <p:nvPr>
            <p:ph type="ftr" sz="quarter" idx="11"/>
          </p:nvPr>
        </p:nvSpPr>
        <p:spPr/>
        <p:txBody>
          <a:bodyPr/>
          <a:lstStyle/>
          <a:p>
            <a:endParaRPr lang="de-DE" dirty="0"/>
          </a:p>
        </p:txBody>
      </p:sp>
      <p:sp>
        <p:nvSpPr>
          <p:cNvPr id="9" name="Foliennummernplatzhalter 8">
            <a:extLst>
              <a:ext uri="{FF2B5EF4-FFF2-40B4-BE49-F238E27FC236}">
                <a16:creationId xmlns:a16="http://schemas.microsoft.com/office/drawing/2014/main" id="{5F254D63-24A7-3D22-2C52-9450086CDD2B}"/>
              </a:ext>
            </a:extLst>
          </p:cNvPr>
          <p:cNvSpPr>
            <a:spLocks noGrp="1"/>
          </p:cNvSpPr>
          <p:nvPr>
            <p:ph type="sldNum" sz="quarter" idx="12"/>
          </p:nvPr>
        </p:nvSpPr>
        <p:spPr/>
        <p:txBody>
          <a:bodyPr/>
          <a:lstStyle/>
          <a:p>
            <a:r>
              <a:rPr lang="de-DE"/>
              <a:t>Seite </a:t>
            </a:r>
            <a:fld id="{63A738E5-7FE5-4F0E-80D4-9B95A408A0CB}" type="slidenum">
              <a:rPr lang="de-DE" smtClean="0"/>
              <a:pPr/>
              <a:t>‹Nr.›</a:t>
            </a:fld>
            <a:endParaRPr lang="de-DE" dirty="0"/>
          </a:p>
        </p:txBody>
      </p:sp>
    </p:spTree>
    <p:extLst>
      <p:ext uri="{BB962C8B-B14F-4D97-AF65-F5344CB8AC3E}">
        <p14:creationId xmlns:p14="http://schemas.microsoft.com/office/powerpoint/2010/main" val="14730261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ext">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977EB5B-8228-C601-1176-E715BE9D4B28}"/>
              </a:ext>
            </a:extLst>
          </p:cNvPr>
          <p:cNvGraphicFramePr>
            <a:graphicFrameLocks noChangeAspect="1"/>
          </p:cNvGraphicFramePr>
          <p:nvPr userDrawn="1">
            <p:custDataLst>
              <p:tags r:id="rId2"/>
            </p:custDataLst>
            <p:extLst>
              <p:ext uri="{D42A27DB-BD31-4B8C-83A1-F6EECF244321}">
                <p14:modId xmlns:p14="http://schemas.microsoft.com/office/powerpoint/2010/main" val="1475890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8" name="think-cell Folie" r:id="rId4" imgW="592" imgH="591" progId="TCLayout.ActiveDocument.1">
                  <p:embed/>
                </p:oleObj>
              </mc:Choice>
              <mc:Fallback>
                <p:oleObj name="think-cell Folie"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F3D29DB-C29F-7E03-7D11-D8E722D7D825}"/>
              </a:ext>
            </a:extLst>
          </p:cNvPr>
          <p:cNvSpPr>
            <a:spLocks noGrp="1"/>
          </p:cNvSpPr>
          <p:nvPr>
            <p:ph type="title"/>
          </p:nvPr>
        </p:nvSpPr>
        <p:spPr>
          <a:xfrm>
            <a:off x="407990" y="404813"/>
            <a:ext cx="11376024" cy="415498"/>
          </a:xfrm>
        </p:spPr>
        <p:txBody>
          <a:bodyPr vert="horz"/>
          <a:lstStyle/>
          <a:p>
            <a:r>
              <a:rPr lang="de-DE"/>
              <a:t>Mastertitelformat bearbeiten</a:t>
            </a:r>
            <a:endParaRPr lang="en-US" dirty="0"/>
          </a:p>
        </p:txBody>
      </p:sp>
      <p:sp>
        <p:nvSpPr>
          <p:cNvPr id="3" name="Inhaltsplatzhalter 2">
            <a:extLst>
              <a:ext uri="{FF2B5EF4-FFF2-40B4-BE49-F238E27FC236}">
                <a16:creationId xmlns:a16="http://schemas.microsoft.com/office/drawing/2014/main" id="{A50FCC40-B9BD-CC74-817B-4FE8B7ABC4EC}"/>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Datumsplatzhalter 6">
            <a:extLst>
              <a:ext uri="{FF2B5EF4-FFF2-40B4-BE49-F238E27FC236}">
                <a16:creationId xmlns:a16="http://schemas.microsoft.com/office/drawing/2014/main" id="{72982C96-07FC-4385-5D0D-49665F9278F4}"/>
              </a:ext>
            </a:extLst>
          </p:cNvPr>
          <p:cNvSpPr>
            <a:spLocks noGrp="1"/>
          </p:cNvSpPr>
          <p:nvPr>
            <p:ph type="dt" sz="half" idx="10"/>
          </p:nvPr>
        </p:nvSpPr>
        <p:spPr/>
        <p:txBody>
          <a:bodyPr/>
          <a:lstStyle/>
          <a:p>
            <a:r>
              <a:rPr lang="de-DE"/>
              <a:t>3/18/2024</a:t>
            </a:r>
            <a:endParaRPr lang="de-DE" dirty="0"/>
          </a:p>
        </p:txBody>
      </p:sp>
      <p:sp>
        <p:nvSpPr>
          <p:cNvPr id="8" name="Fußzeilenplatzhalter 7">
            <a:extLst>
              <a:ext uri="{FF2B5EF4-FFF2-40B4-BE49-F238E27FC236}">
                <a16:creationId xmlns:a16="http://schemas.microsoft.com/office/drawing/2014/main" id="{E55BFC90-C6B1-7999-78DB-FF625BA8356B}"/>
              </a:ext>
            </a:extLst>
          </p:cNvPr>
          <p:cNvSpPr>
            <a:spLocks noGrp="1"/>
          </p:cNvSpPr>
          <p:nvPr>
            <p:ph type="ftr" sz="quarter" idx="11"/>
          </p:nvPr>
        </p:nvSpPr>
        <p:spPr/>
        <p:txBody>
          <a:bodyPr/>
          <a:lstStyle/>
          <a:p>
            <a:endParaRPr lang="de-DE" dirty="0"/>
          </a:p>
        </p:txBody>
      </p:sp>
      <p:sp>
        <p:nvSpPr>
          <p:cNvPr id="9" name="Foliennummernplatzhalter 8">
            <a:extLst>
              <a:ext uri="{FF2B5EF4-FFF2-40B4-BE49-F238E27FC236}">
                <a16:creationId xmlns:a16="http://schemas.microsoft.com/office/drawing/2014/main" id="{5F254D63-24A7-3D22-2C52-9450086CDD2B}"/>
              </a:ext>
            </a:extLst>
          </p:cNvPr>
          <p:cNvSpPr>
            <a:spLocks noGrp="1"/>
          </p:cNvSpPr>
          <p:nvPr>
            <p:ph type="sldNum" sz="quarter" idx="12"/>
          </p:nvPr>
        </p:nvSpPr>
        <p:spPr/>
        <p:txBody>
          <a:bodyPr/>
          <a:lstStyle/>
          <a:p>
            <a:r>
              <a:rPr lang="de-DE"/>
              <a:t>Seite </a:t>
            </a:r>
            <a:fld id="{63A738E5-7FE5-4F0E-80D4-9B95A408A0CB}" type="slidenum">
              <a:rPr lang="de-DE" smtClean="0"/>
              <a:pPr/>
              <a:t>‹Nr.›</a:t>
            </a:fld>
            <a:endParaRPr lang="de-DE" dirty="0"/>
          </a:p>
        </p:txBody>
      </p:sp>
    </p:spTree>
    <p:extLst>
      <p:ext uri="{BB962C8B-B14F-4D97-AF65-F5344CB8AC3E}">
        <p14:creationId xmlns:p14="http://schemas.microsoft.com/office/powerpoint/2010/main" val="11565371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776156B-F280-BB3C-B842-C614C76463D3}"/>
              </a:ext>
            </a:extLst>
          </p:cNvPr>
          <p:cNvGraphicFramePr>
            <a:graphicFrameLocks noChangeAspect="1"/>
          </p:cNvGraphicFramePr>
          <p:nvPr userDrawn="1">
            <p:custDataLst>
              <p:tags r:id="rId2"/>
            </p:custDataLst>
            <p:extLst>
              <p:ext uri="{D42A27DB-BD31-4B8C-83A1-F6EECF244321}">
                <p14:modId xmlns:p14="http://schemas.microsoft.com/office/powerpoint/2010/main" val="2445494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2" name="think-cell Folie" r:id="rId4" imgW="592" imgH="591" progId="TCLayout.ActiveDocument.1">
                  <p:embed/>
                </p:oleObj>
              </mc:Choice>
              <mc:Fallback>
                <p:oleObj name="think-cell Folie"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CC8F393-2D7B-6D19-5155-C216F9EB9C69}"/>
              </a:ext>
            </a:extLst>
          </p:cNvPr>
          <p:cNvSpPr>
            <a:spLocks noGrp="1"/>
          </p:cNvSpPr>
          <p:nvPr>
            <p:ph type="title"/>
          </p:nvPr>
        </p:nvSpPr>
        <p:spPr/>
        <p:txBody>
          <a:bodyPr vert="horz"/>
          <a:lstStyle/>
          <a:p>
            <a:r>
              <a:rPr lang="de-DE"/>
              <a:t>Mastertitelformat bearbeiten</a:t>
            </a:r>
            <a:endParaRPr lang="en-US"/>
          </a:p>
        </p:txBody>
      </p:sp>
      <p:sp>
        <p:nvSpPr>
          <p:cNvPr id="6" name="Datumsplatzhalter 5">
            <a:extLst>
              <a:ext uri="{FF2B5EF4-FFF2-40B4-BE49-F238E27FC236}">
                <a16:creationId xmlns:a16="http://schemas.microsoft.com/office/drawing/2014/main" id="{5FAC815C-C4FD-2740-8B52-BB05F7C4BF33}"/>
              </a:ext>
            </a:extLst>
          </p:cNvPr>
          <p:cNvSpPr>
            <a:spLocks noGrp="1"/>
          </p:cNvSpPr>
          <p:nvPr>
            <p:ph type="dt" sz="half" idx="10"/>
          </p:nvPr>
        </p:nvSpPr>
        <p:spPr/>
        <p:txBody>
          <a:bodyPr/>
          <a:lstStyle/>
          <a:p>
            <a:r>
              <a:rPr lang="de-DE"/>
              <a:t>3/18/2024</a:t>
            </a:r>
            <a:endParaRPr lang="de-DE" dirty="0"/>
          </a:p>
        </p:txBody>
      </p:sp>
      <p:sp>
        <p:nvSpPr>
          <p:cNvPr id="7" name="Fußzeilenplatzhalter 6">
            <a:extLst>
              <a:ext uri="{FF2B5EF4-FFF2-40B4-BE49-F238E27FC236}">
                <a16:creationId xmlns:a16="http://schemas.microsoft.com/office/drawing/2014/main" id="{E40BEA59-9BB3-5559-EF17-D7C7237D61B9}"/>
              </a:ext>
            </a:extLst>
          </p:cNvPr>
          <p:cNvSpPr>
            <a:spLocks noGrp="1"/>
          </p:cNvSpPr>
          <p:nvPr>
            <p:ph type="ftr" sz="quarter" idx="11"/>
          </p:nvPr>
        </p:nvSpPr>
        <p:spPr/>
        <p:txBody>
          <a:bodyPr/>
          <a:lstStyle/>
          <a:p>
            <a:endParaRPr lang="de-DE" dirty="0"/>
          </a:p>
        </p:txBody>
      </p:sp>
      <p:sp>
        <p:nvSpPr>
          <p:cNvPr id="8" name="Foliennummernplatzhalter 7">
            <a:extLst>
              <a:ext uri="{FF2B5EF4-FFF2-40B4-BE49-F238E27FC236}">
                <a16:creationId xmlns:a16="http://schemas.microsoft.com/office/drawing/2014/main" id="{E9652B59-D1C8-A7CD-3CCF-17F6C41D2B32}"/>
              </a:ext>
            </a:extLst>
          </p:cNvPr>
          <p:cNvSpPr>
            <a:spLocks noGrp="1"/>
          </p:cNvSpPr>
          <p:nvPr>
            <p:ph type="sldNum" sz="quarter" idx="12"/>
          </p:nvPr>
        </p:nvSpPr>
        <p:spPr/>
        <p:txBody>
          <a:bodyPr/>
          <a:lstStyle/>
          <a:p>
            <a:r>
              <a:rPr lang="de-DE"/>
              <a:t>Seite </a:t>
            </a:r>
            <a:fld id="{63A738E5-7FE5-4F0E-80D4-9B95A408A0CB}" type="slidenum">
              <a:rPr lang="de-DE" smtClean="0"/>
              <a:pPr/>
              <a:t>‹Nr.›</a:t>
            </a:fld>
            <a:endParaRPr lang="de-DE" dirty="0"/>
          </a:p>
        </p:txBody>
      </p:sp>
    </p:spTree>
    <p:extLst>
      <p:ext uri="{BB962C8B-B14F-4D97-AF65-F5344CB8AC3E}">
        <p14:creationId xmlns:p14="http://schemas.microsoft.com/office/powerpoint/2010/main" val="4313406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hell+Bild recht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977EB5B-8228-C601-1176-E715BE9D4B28}"/>
              </a:ext>
            </a:extLst>
          </p:cNvPr>
          <p:cNvGraphicFramePr>
            <a:graphicFrameLocks noChangeAspect="1"/>
          </p:cNvGraphicFramePr>
          <p:nvPr userDrawn="1">
            <p:custDataLst>
              <p:tags r:id="rId2"/>
            </p:custDataLst>
            <p:extLst>
              <p:ext uri="{D42A27DB-BD31-4B8C-83A1-F6EECF244321}">
                <p14:modId xmlns:p14="http://schemas.microsoft.com/office/powerpoint/2010/main" val="3493956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6" name="think-cell Folie" r:id="rId4" imgW="592" imgH="591" progId="TCLayout.ActiveDocument.1">
                  <p:embed/>
                </p:oleObj>
              </mc:Choice>
              <mc:Fallback>
                <p:oleObj name="think-cell Folie" r:id="rId4" imgW="592" imgH="591" progId="TCLayout.ActiveDocument.1">
                  <p:embed/>
                  <p:pic>
                    <p:nvPicPr>
                      <p:cNvPr id="11" name="think-cell data - do not delete" hidden="1">
                        <a:extLst>
                          <a:ext uri="{FF2B5EF4-FFF2-40B4-BE49-F238E27FC236}">
                            <a16:creationId xmlns:a16="http://schemas.microsoft.com/office/drawing/2014/main" id="{4977EB5B-8228-C601-1176-E715BE9D4B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F3D29DB-C29F-7E03-7D11-D8E722D7D825}"/>
              </a:ext>
            </a:extLst>
          </p:cNvPr>
          <p:cNvSpPr>
            <a:spLocks noGrp="1"/>
          </p:cNvSpPr>
          <p:nvPr>
            <p:ph type="title"/>
          </p:nvPr>
        </p:nvSpPr>
        <p:spPr>
          <a:xfrm>
            <a:off x="407990" y="404813"/>
            <a:ext cx="5328009" cy="415498"/>
          </a:xfrm>
        </p:spPr>
        <p:txBody>
          <a:bodyPr vert="horz"/>
          <a:lstStyle/>
          <a:p>
            <a:r>
              <a:rPr lang="de-DE"/>
              <a:t>Mastertitelformat bearbeiten</a:t>
            </a:r>
            <a:endParaRPr lang="en-US" dirty="0"/>
          </a:p>
        </p:txBody>
      </p:sp>
      <p:sp>
        <p:nvSpPr>
          <p:cNvPr id="3" name="Inhaltsplatzhalter 2">
            <a:extLst>
              <a:ext uri="{FF2B5EF4-FFF2-40B4-BE49-F238E27FC236}">
                <a16:creationId xmlns:a16="http://schemas.microsoft.com/office/drawing/2014/main" id="{A50FCC40-B9BD-CC74-817B-4FE8B7ABC4EC}"/>
              </a:ext>
            </a:extLst>
          </p:cNvPr>
          <p:cNvSpPr>
            <a:spLocks noGrp="1"/>
          </p:cNvSpPr>
          <p:nvPr>
            <p:ph idx="1"/>
          </p:nvPr>
        </p:nvSpPr>
        <p:spPr>
          <a:xfrm>
            <a:off x="407990" y="2060847"/>
            <a:ext cx="5328009" cy="411611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Bildplatzhalter 22">
            <a:extLst>
              <a:ext uri="{FF2B5EF4-FFF2-40B4-BE49-F238E27FC236}">
                <a16:creationId xmlns:a16="http://schemas.microsoft.com/office/drawing/2014/main" id="{0CCE803F-76E1-51EF-2D37-8BB55EF492E6}"/>
              </a:ext>
            </a:extLst>
          </p:cNvPr>
          <p:cNvSpPr>
            <a:spLocks noGrp="1"/>
          </p:cNvSpPr>
          <p:nvPr>
            <p:ph type="pic" sz="quarter" idx="14"/>
          </p:nvPr>
        </p:nvSpPr>
        <p:spPr>
          <a:xfrm>
            <a:off x="6096000" y="0"/>
            <a:ext cx="6096000" cy="6858000"/>
          </a:xfrm>
          <a:solidFill>
            <a:schemeClr val="tx1"/>
          </a:solidFill>
        </p:spPr>
        <p:txBody>
          <a:bodyPr/>
          <a:lstStyle>
            <a:lvl1pPr>
              <a:defRPr>
                <a:solidFill>
                  <a:schemeClr val="bg1"/>
                </a:solidFill>
              </a:defRPr>
            </a:lvl1pPr>
          </a:lstStyle>
          <a:p>
            <a:r>
              <a:rPr lang="de-DE"/>
              <a:t>Bild durch Klicken auf Symbol hinzufügen</a:t>
            </a:r>
            <a:endParaRPr lang="de-DE" dirty="0"/>
          </a:p>
        </p:txBody>
      </p:sp>
      <p:sp>
        <p:nvSpPr>
          <p:cNvPr id="5" name="Datumsplatzhalter 4">
            <a:extLst>
              <a:ext uri="{FF2B5EF4-FFF2-40B4-BE49-F238E27FC236}">
                <a16:creationId xmlns:a16="http://schemas.microsoft.com/office/drawing/2014/main" id="{48160838-16FC-145C-39CA-83F1101FBC9C}"/>
              </a:ext>
            </a:extLst>
          </p:cNvPr>
          <p:cNvSpPr>
            <a:spLocks noGrp="1"/>
          </p:cNvSpPr>
          <p:nvPr>
            <p:ph type="dt" sz="half" idx="15"/>
          </p:nvPr>
        </p:nvSpPr>
        <p:spPr/>
        <p:txBody>
          <a:bodyPr/>
          <a:lstStyle/>
          <a:p>
            <a:r>
              <a:rPr lang="de-DE"/>
              <a:t>3/18/2024</a:t>
            </a:r>
            <a:endParaRPr lang="de-DE" dirty="0"/>
          </a:p>
        </p:txBody>
      </p:sp>
      <p:sp>
        <p:nvSpPr>
          <p:cNvPr id="6" name="Fußzeilenplatzhalter 5">
            <a:extLst>
              <a:ext uri="{FF2B5EF4-FFF2-40B4-BE49-F238E27FC236}">
                <a16:creationId xmlns:a16="http://schemas.microsoft.com/office/drawing/2014/main" id="{38EE8913-A495-FC86-109A-4C4FB9AC8C34}"/>
              </a:ext>
            </a:extLst>
          </p:cNvPr>
          <p:cNvSpPr>
            <a:spLocks noGrp="1"/>
          </p:cNvSpPr>
          <p:nvPr>
            <p:ph type="ftr" sz="quarter" idx="16"/>
          </p:nvPr>
        </p:nvSpPr>
        <p:spPr/>
        <p:txBody>
          <a:bodyPr/>
          <a:lstStyle>
            <a:lvl1pPr>
              <a:defRPr>
                <a:solidFill>
                  <a:schemeClr val="bg1"/>
                </a:solidFill>
              </a:defRPr>
            </a:lvl1pPr>
          </a:lstStyle>
          <a:p>
            <a:endParaRPr lang="de-DE" dirty="0"/>
          </a:p>
        </p:txBody>
      </p:sp>
      <p:sp>
        <p:nvSpPr>
          <p:cNvPr id="10" name="Foliennummernplatzhalter 9">
            <a:extLst>
              <a:ext uri="{FF2B5EF4-FFF2-40B4-BE49-F238E27FC236}">
                <a16:creationId xmlns:a16="http://schemas.microsoft.com/office/drawing/2014/main" id="{78B6877D-9AD0-EBC6-8232-5DD7BD838D7A}"/>
              </a:ext>
            </a:extLst>
          </p:cNvPr>
          <p:cNvSpPr>
            <a:spLocks noGrp="1"/>
          </p:cNvSpPr>
          <p:nvPr>
            <p:ph type="sldNum" sz="quarter" idx="17"/>
          </p:nvPr>
        </p:nvSpPr>
        <p:spPr/>
        <p:txBody>
          <a:bodyPr/>
          <a:lstStyle>
            <a:lvl1pPr>
              <a:defRPr>
                <a:solidFill>
                  <a:schemeClr val="bg1"/>
                </a:solidFill>
              </a:defRPr>
            </a:lvl1pPr>
          </a:lstStyle>
          <a:p>
            <a:r>
              <a:rPr lang="de-DE"/>
              <a:t>Seite </a:t>
            </a:r>
            <a:fld id="{63A738E5-7FE5-4F0E-80D4-9B95A408A0CB}" type="slidenum">
              <a:rPr lang="de-DE" smtClean="0"/>
              <a:pPr/>
              <a:t>‹Nr.›</a:t>
            </a:fld>
            <a:endParaRPr lang="de-DE" dirty="0"/>
          </a:p>
        </p:txBody>
      </p:sp>
    </p:spTree>
    <p:extLst>
      <p:ext uri="{BB962C8B-B14F-4D97-AF65-F5344CB8AC3E}">
        <p14:creationId xmlns:p14="http://schemas.microsoft.com/office/powerpoint/2010/main" val="40531119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ext dunkel+Bild rechts">
    <p:bg>
      <p:bgPr>
        <a:solidFill>
          <a:schemeClr val="tx1"/>
        </a:solidFill>
        <a:effectLst/>
      </p:bgPr>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977EB5B-8228-C601-1176-E715BE9D4B28}"/>
              </a:ext>
            </a:extLst>
          </p:cNvPr>
          <p:cNvGraphicFramePr>
            <a:graphicFrameLocks noChangeAspect="1"/>
          </p:cNvGraphicFramePr>
          <p:nvPr userDrawn="1">
            <p:custDataLst>
              <p:tags r:id="rId2"/>
            </p:custDataLst>
            <p:extLst>
              <p:ext uri="{D42A27DB-BD31-4B8C-83A1-F6EECF244321}">
                <p14:modId xmlns:p14="http://schemas.microsoft.com/office/powerpoint/2010/main" val="3081950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0" name="think-cell Folie" r:id="rId4" imgW="592" imgH="591" progId="TCLayout.ActiveDocument.1">
                  <p:embed/>
                </p:oleObj>
              </mc:Choice>
              <mc:Fallback>
                <p:oleObj name="think-cell Folie" r:id="rId4" imgW="592" imgH="591" progId="TCLayout.ActiveDocument.1">
                  <p:embed/>
                  <p:pic>
                    <p:nvPicPr>
                      <p:cNvPr id="11" name="think-cell data - do not delete" hidden="1">
                        <a:extLst>
                          <a:ext uri="{FF2B5EF4-FFF2-40B4-BE49-F238E27FC236}">
                            <a16:creationId xmlns:a16="http://schemas.microsoft.com/office/drawing/2014/main" id="{4977EB5B-8228-C601-1176-E715BE9D4B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F3D29DB-C29F-7E03-7D11-D8E722D7D825}"/>
              </a:ext>
            </a:extLst>
          </p:cNvPr>
          <p:cNvSpPr>
            <a:spLocks noGrp="1"/>
          </p:cNvSpPr>
          <p:nvPr>
            <p:ph type="title"/>
          </p:nvPr>
        </p:nvSpPr>
        <p:spPr>
          <a:xfrm>
            <a:off x="407990" y="404813"/>
            <a:ext cx="5328009" cy="415498"/>
          </a:xfrm>
        </p:spPr>
        <p:txBody>
          <a:bodyPr vert="horz"/>
          <a:lstStyle>
            <a:lvl1pPr>
              <a:defRPr>
                <a:solidFill>
                  <a:schemeClr val="bg1"/>
                </a:solidFill>
              </a:defRPr>
            </a:lvl1pPr>
          </a:lstStyle>
          <a:p>
            <a:r>
              <a:rPr lang="de-DE"/>
              <a:t>Mastertitelformat bearbeiten</a:t>
            </a:r>
            <a:endParaRPr lang="en-US" dirty="0"/>
          </a:p>
        </p:txBody>
      </p:sp>
      <p:sp>
        <p:nvSpPr>
          <p:cNvPr id="3" name="Inhaltsplatzhalter 2">
            <a:extLst>
              <a:ext uri="{FF2B5EF4-FFF2-40B4-BE49-F238E27FC236}">
                <a16:creationId xmlns:a16="http://schemas.microsoft.com/office/drawing/2014/main" id="{A50FCC40-B9BD-CC74-817B-4FE8B7ABC4EC}"/>
              </a:ext>
            </a:extLst>
          </p:cNvPr>
          <p:cNvSpPr>
            <a:spLocks noGrp="1"/>
          </p:cNvSpPr>
          <p:nvPr>
            <p:ph idx="1"/>
          </p:nvPr>
        </p:nvSpPr>
        <p:spPr>
          <a:xfrm>
            <a:off x="407990" y="2060847"/>
            <a:ext cx="5328009" cy="411611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Bildplatzhalter 22">
            <a:extLst>
              <a:ext uri="{FF2B5EF4-FFF2-40B4-BE49-F238E27FC236}">
                <a16:creationId xmlns:a16="http://schemas.microsoft.com/office/drawing/2014/main" id="{0CCE803F-76E1-51EF-2D37-8BB55EF492E6}"/>
              </a:ext>
            </a:extLst>
          </p:cNvPr>
          <p:cNvSpPr>
            <a:spLocks noGrp="1"/>
          </p:cNvSpPr>
          <p:nvPr>
            <p:ph type="pic" sz="quarter" idx="14"/>
          </p:nvPr>
        </p:nvSpPr>
        <p:spPr>
          <a:xfrm>
            <a:off x="6096000" y="0"/>
            <a:ext cx="6096000" cy="6858000"/>
          </a:xfrm>
          <a:solidFill>
            <a:schemeClr val="tx1"/>
          </a:solidFill>
        </p:spPr>
        <p:txBody>
          <a:bodyPr/>
          <a:lstStyle>
            <a:lvl1pPr>
              <a:defRPr>
                <a:solidFill>
                  <a:schemeClr val="bg1"/>
                </a:solidFill>
              </a:defRPr>
            </a:lvl1pPr>
          </a:lstStyle>
          <a:p>
            <a:r>
              <a:rPr lang="de-DE"/>
              <a:t>Bild durch Klicken auf Symbol hinzufügen</a:t>
            </a:r>
          </a:p>
        </p:txBody>
      </p:sp>
      <p:grpSp>
        <p:nvGrpSpPr>
          <p:cNvPr id="6" name="Grafik 23">
            <a:extLst>
              <a:ext uri="{FF2B5EF4-FFF2-40B4-BE49-F238E27FC236}">
                <a16:creationId xmlns:a16="http://schemas.microsoft.com/office/drawing/2014/main" id="{E12EA9DF-0503-8AB7-98BD-A22FECBF6EF1}"/>
              </a:ext>
            </a:extLst>
          </p:cNvPr>
          <p:cNvGrpSpPr>
            <a:grpSpLocks noChangeAspect="1"/>
          </p:cNvGrpSpPr>
          <p:nvPr userDrawn="1"/>
        </p:nvGrpSpPr>
        <p:grpSpPr>
          <a:xfrm>
            <a:off x="407989" y="6453187"/>
            <a:ext cx="918000" cy="158572"/>
            <a:chOff x="3042261" y="4495188"/>
            <a:chExt cx="3720761" cy="642716"/>
          </a:xfrm>
          <a:solidFill>
            <a:schemeClr val="bg1"/>
          </a:solidFill>
        </p:grpSpPr>
        <p:sp>
          <p:nvSpPr>
            <p:cNvPr id="10" name="Freihandform: Form 9">
              <a:extLst>
                <a:ext uri="{FF2B5EF4-FFF2-40B4-BE49-F238E27FC236}">
                  <a16:creationId xmlns:a16="http://schemas.microsoft.com/office/drawing/2014/main" id="{F96E6D4A-14FA-8D5A-C3C3-71629B9D7262}"/>
                </a:ext>
              </a:extLst>
            </p:cNvPr>
            <p:cNvSpPr/>
            <p:nvPr/>
          </p:nvSpPr>
          <p:spPr>
            <a:xfrm>
              <a:off x="3042261" y="4495188"/>
              <a:ext cx="450339" cy="638344"/>
            </a:xfrm>
            <a:custGeom>
              <a:avLst/>
              <a:gdLst>
                <a:gd name="connsiteX0" fmla="*/ 262333 w 450339"/>
                <a:gd name="connsiteY0" fmla="*/ 638345 h 638344"/>
                <a:gd name="connsiteX1" fmla="*/ 251403 w 450339"/>
                <a:gd name="connsiteY1" fmla="*/ 638345 h 638344"/>
                <a:gd name="connsiteX2" fmla="*/ 0 w 450339"/>
                <a:gd name="connsiteY2" fmla="*/ 638345 h 638344"/>
                <a:gd name="connsiteX3" fmla="*/ 0 w 450339"/>
                <a:gd name="connsiteY3" fmla="*/ 0 h 638344"/>
                <a:gd name="connsiteX4" fmla="*/ 266706 w 450339"/>
                <a:gd name="connsiteY4" fmla="*/ 0 h 638344"/>
                <a:gd name="connsiteX5" fmla="*/ 450339 w 450339"/>
                <a:gd name="connsiteY5" fmla="*/ 192378 h 638344"/>
                <a:gd name="connsiteX6" fmla="*/ 450339 w 450339"/>
                <a:gd name="connsiteY6" fmla="*/ 452525 h 638344"/>
                <a:gd name="connsiteX7" fmla="*/ 393500 w 450339"/>
                <a:gd name="connsiteY7" fmla="*/ 598995 h 638344"/>
                <a:gd name="connsiteX8" fmla="*/ 262333 w 450339"/>
                <a:gd name="connsiteY8" fmla="*/ 638345 h 638344"/>
                <a:gd name="connsiteX9" fmla="*/ 137725 w 450339"/>
                <a:gd name="connsiteY9" fmla="*/ 500620 h 638344"/>
                <a:gd name="connsiteX10" fmla="*/ 257961 w 450339"/>
                <a:gd name="connsiteY10" fmla="*/ 500620 h 638344"/>
                <a:gd name="connsiteX11" fmla="*/ 319172 w 450339"/>
                <a:gd name="connsiteY11" fmla="*/ 445967 h 638344"/>
                <a:gd name="connsiteX12" fmla="*/ 319172 w 450339"/>
                <a:gd name="connsiteY12" fmla="*/ 196750 h 638344"/>
                <a:gd name="connsiteX13" fmla="*/ 255775 w 450339"/>
                <a:gd name="connsiteY13" fmla="*/ 135539 h 638344"/>
                <a:gd name="connsiteX14" fmla="*/ 135539 w 450339"/>
                <a:gd name="connsiteY14" fmla="*/ 135539 h 638344"/>
                <a:gd name="connsiteX15" fmla="*/ 135539 w 450339"/>
                <a:gd name="connsiteY15" fmla="*/ 500620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339" h="638344">
                  <a:moveTo>
                    <a:pt x="262333" y="638345"/>
                  </a:moveTo>
                  <a:cubicBezTo>
                    <a:pt x="257961" y="638345"/>
                    <a:pt x="255775" y="638345"/>
                    <a:pt x="251403" y="638345"/>
                  </a:cubicBezTo>
                  <a:lnTo>
                    <a:pt x="0" y="638345"/>
                  </a:lnTo>
                  <a:lnTo>
                    <a:pt x="0" y="0"/>
                  </a:lnTo>
                  <a:lnTo>
                    <a:pt x="266706" y="0"/>
                  </a:lnTo>
                  <a:cubicBezTo>
                    <a:pt x="391314" y="0"/>
                    <a:pt x="450339" y="61211"/>
                    <a:pt x="450339" y="192378"/>
                  </a:cubicBezTo>
                  <a:lnTo>
                    <a:pt x="450339" y="452525"/>
                  </a:lnTo>
                  <a:cubicBezTo>
                    <a:pt x="450339" y="518108"/>
                    <a:pt x="430664" y="566203"/>
                    <a:pt x="393500" y="598995"/>
                  </a:cubicBezTo>
                  <a:cubicBezTo>
                    <a:pt x="362895" y="625228"/>
                    <a:pt x="319172" y="638345"/>
                    <a:pt x="262333" y="638345"/>
                  </a:cubicBezTo>
                  <a:close/>
                  <a:moveTo>
                    <a:pt x="137725" y="500620"/>
                  </a:moveTo>
                  <a:lnTo>
                    <a:pt x="257961" y="500620"/>
                  </a:lnTo>
                  <a:cubicBezTo>
                    <a:pt x="288567" y="500620"/>
                    <a:pt x="314800" y="478758"/>
                    <a:pt x="319172" y="445967"/>
                  </a:cubicBezTo>
                  <a:lnTo>
                    <a:pt x="319172" y="196750"/>
                  </a:lnTo>
                  <a:cubicBezTo>
                    <a:pt x="319172" y="163958"/>
                    <a:pt x="290753" y="135539"/>
                    <a:pt x="255775" y="135539"/>
                  </a:cubicBezTo>
                  <a:lnTo>
                    <a:pt x="135539" y="135539"/>
                  </a:lnTo>
                  <a:lnTo>
                    <a:pt x="135539" y="500620"/>
                  </a:lnTo>
                  <a:close/>
                </a:path>
              </a:pathLst>
            </a:custGeom>
            <a:grpFill/>
            <a:ln w="21819"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66E460CC-F1A0-35EE-BAB5-DBE00E25E3BF}"/>
                </a:ext>
              </a:extLst>
            </p:cNvPr>
            <p:cNvSpPr/>
            <p:nvPr/>
          </p:nvSpPr>
          <p:spPr>
            <a:xfrm>
              <a:off x="3612836" y="4495188"/>
              <a:ext cx="461269" cy="638344"/>
            </a:xfrm>
            <a:custGeom>
              <a:avLst/>
              <a:gdLst>
                <a:gd name="connsiteX0" fmla="*/ 461269 w 461269"/>
                <a:gd name="connsiteY0" fmla="*/ 638345 h 638344"/>
                <a:gd name="connsiteX1" fmla="*/ 323544 w 461269"/>
                <a:gd name="connsiteY1" fmla="*/ 638345 h 638344"/>
                <a:gd name="connsiteX2" fmla="*/ 323544 w 461269"/>
                <a:gd name="connsiteY2" fmla="*/ 487503 h 638344"/>
                <a:gd name="connsiteX3" fmla="*/ 137725 w 461269"/>
                <a:gd name="connsiteY3" fmla="*/ 487503 h 638344"/>
                <a:gd name="connsiteX4" fmla="*/ 137725 w 461269"/>
                <a:gd name="connsiteY4" fmla="*/ 638345 h 638344"/>
                <a:gd name="connsiteX5" fmla="*/ 0 w 461269"/>
                <a:gd name="connsiteY5" fmla="*/ 638345 h 638344"/>
                <a:gd name="connsiteX6" fmla="*/ 0 w 461269"/>
                <a:gd name="connsiteY6" fmla="*/ 188006 h 638344"/>
                <a:gd name="connsiteX7" fmla="*/ 190192 w 461269"/>
                <a:gd name="connsiteY7" fmla="*/ 0 h 638344"/>
                <a:gd name="connsiteX8" fmla="*/ 268892 w 461269"/>
                <a:gd name="connsiteY8" fmla="*/ 0 h 638344"/>
                <a:gd name="connsiteX9" fmla="*/ 461269 w 461269"/>
                <a:gd name="connsiteY9" fmla="*/ 192378 h 638344"/>
                <a:gd name="connsiteX10" fmla="*/ 461269 w 461269"/>
                <a:gd name="connsiteY10" fmla="*/ 638345 h 638344"/>
                <a:gd name="connsiteX11" fmla="*/ 137725 w 461269"/>
                <a:gd name="connsiteY11" fmla="*/ 351964 h 638344"/>
                <a:gd name="connsiteX12" fmla="*/ 323544 w 461269"/>
                <a:gd name="connsiteY12" fmla="*/ 351964 h 638344"/>
                <a:gd name="connsiteX13" fmla="*/ 323544 w 461269"/>
                <a:gd name="connsiteY13" fmla="*/ 201122 h 638344"/>
                <a:gd name="connsiteX14" fmla="*/ 262333 w 461269"/>
                <a:gd name="connsiteY14" fmla="*/ 135539 h 638344"/>
                <a:gd name="connsiteX15" fmla="*/ 198936 w 461269"/>
                <a:gd name="connsiteY15" fmla="*/ 135539 h 638344"/>
                <a:gd name="connsiteX16" fmla="*/ 137725 w 461269"/>
                <a:gd name="connsiteY16" fmla="*/ 194564 h 638344"/>
                <a:gd name="connsiteX17" fmla="*/ 137725 w 461269"/>
                <a:gd name="connsiteY17" fmla="*/ 351964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61269" h="638344">
                  <a:moveTo>
                    <a:pt x="461269" y="638345"/>
                  </a:moveTo>
                  <a:lnTo>
                    <a:pt x="323544" y="638345"/>
                  </a:lnTo>
                  <a:lnTo>
                    <a:pt x="323544" y="487503"/>
                  </a:lnTo>
                  <a:lnTo>
                    <a:pt x="137725" y="487503"/>
                  </a:lnTo>
                  <a:lnTo>
                    <a:pt x="137725" y="638345"/>
                  </a:lnTo>
                  <a:lnTo>
                    <a:pt x="0" y="638345"/>
                  </a:lnTo>
                  <a:lnTo>
                    <a:pt x="0" y="188006"/>
                  </a:lnTo>
                  <a:cubicBezTo>
                    <a:pt x="0" y="61211"/>
                    <a:pt x="63397" y="0"/>
                    <a:pt x="190192" y="0"/>
                  </a:cubicBezTo>
                  <a:lnTo>
                    <a:pt x="268892" y="0"/>
                  </a:lnTo>
                  <a:cubicBezTo>
                    <a:pt x="397872" y="0"/>
                    <a:pt x="461269" y="63397"/>
                    <a:pt x="461269" y="192378"/>
                  </a:cubicBezTo>
                  <a:lnTo>
                    <a:pt x="461269" y="638345"/>
                  </a:lnTo>
                  <a:close/>
                  <a:moveTo>
                    <a:pt x="137725" y="351964"/>
                  </a:moveTo>
                  <a:lnTo>
                    <a:pt x="323544" y="351964"/>
                  </a:lnTo>
                  <a:lnTo>
                    <a:pt x="323544" y="201122"/>
                  </a:lnTo>
                  <a:cubicBezTo>
                    <a:pt x="323544" y="163958"/>
                    <a:pt x="295125" y="135539"/>
                    <a:pt x="262333" y="135539"/>
                  </a:cubicBezTo>
                  <a:lnTo>
                    <a:pt x="198936" y="135539"/>
                  </a:lnTo>
                  <a:cubicBezTo>
                    <a:pt x="163958" y="135539"/>
                    <a:pt x="137725" y="161772"/>
                    <a:pt x="137725" y="194564"/>
                  </a:cubicBezTo>
                  <a:lnTo>
                    <a:pt x="137725" y="351964"/>
                  </a:lnTo>
                  <a:close/>
                </a:path>
              </a:pathLst>
            </a:custGeom>
            <a:grpFill/>
            <a:ln w="21819" cap="flat">
              <a:noFill/>
              <a:prstDash val="solid"/>
              <a:miter/>
            </a:ln>
          </p:spPr>
          <p:txBody>
            <a:bodyPr rtlCol="0" anchor="ctr"/>
            <a:lstStyle/>
            <a:p>
              <a:endParaRPr lang="de-DE"/>
            </a:p>
          </p:txBody>
        </p:sp>
        <p:sp>
          <p:nvSpPr>
            <p:cNvPr id="13" name="Freihandform: Form 12">
              <a:extLst>
                <a:ext uri="{FF2B5EF4-FFF2-40B4-BE49-F238E27FC236}">
                  <a16:creationId xmlns:a16="http://schemas.microsoft.com/office/drawing/2014/main" id="{671305F5-0F89-01E0-A05C-86EC8B4F7981}"/>
                </a:ext>
              </a:extLst>
            </p:cNvPr>
            <p:cNvSpPr/>
            <p:nvPr/>
          </p:nvSpPr>
          <p:spPr>
            <a:xfrm>
              <a:off x="4205272" y="4495188"/>
              <a:ext cx="327916" cy="638344"/>
            </a:xfrm>
            <a:custGeom>
              <a:avLst/>
              <a:gdLst>
                <a:gd name="connsiteX0" fmla="*/ 327917 w 327916"/>
                <a:gd name="connsiteY0" fmla="*/ 638345 h 638344"/>
                <a:gd name="connsiteX1" fmla="*/ 0 w 327916"/>
                <a:gd name="connsiteY1" fmla="*/ 638345 h 638344"/>
                <a:gd name="connsiteX2" fmla="*/ 0 w 327916"/>
                <a:gd name="connsiteY2" fmla="*/ 0 h 638344"/>
                <a:gd name="connsiteX3" fmla="*/ 137725 w 327916"/>
                <a:gd name="connsiteY3" fmla="*/ 0 h 638344"/>
                <a:gd name="connsiteX4" fmla="*/ 137725 w 327916"/>
                <a:gd name="connsiteY4" fmla="*/ 500620 h 638344"/>
                <a:gd name="connsiteX5" fmla="*/ 327917 w 327916"/>
                <a:gd name="connsiteY5" fmla="*/ 500620 h 638344"/>
                <a:gd name="connsiteX6" fmla="*/ 327917 w 327916"/>
                <a:gd name="connsiteY6" fmla="*/ 638345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916" h="638344">
                  <a:moveTo>
                    <a:pt x="327917" y="638345"/>
                  </a:moveTo>
                  <a:lnTo>
                    <a:pt x="0" y="638345"/>
                  </a:lnTo>
                  <a:lnTo>
                    <a:pt x="0" y="0"/>
                  </a:lnTo>
                  <a:lnTo>
                    <a:pt x="137725" y="0"/>
                  </a:lnTo>
                  <a:lnTo>
                    <a:pt x="137725" y="500620"/>
                  </a:lnTo>
                  <a:lnTo>
                    <a:pt x="327917" y="500620"/>
                  </a:lnTo>
                  <a:lnTo>
                    <a:pt x="327917" y="638345"/>
                  </a:lnTo>
                  <a:close/>
                </a:path>
              </a:pathLst>
            </a:custGeom>
            <a:grpFill/>
            <a:ln w="21819" cap="flat">
              <a:noFill/>
              <a:prstDash val="solid"/>
              <a:miter/>
            </a:ln>
          </p:spPr>
          <p:txBody>
            <a:bodyPr rtlCol="0" anchor="ctr"/>
            <a:lstStyle/>
            <a:p>
              <a:endParaRPr lang="de-DE"/>
            </a:p>
          </p:txBody>
        </p:sp>
        <p:sp>
          <p:nvSpPr>
            <p:cNvPr id="14" name="Freihandform: Form 13">
              <a:extLst>
                <a:ext uri="{FF2B5EF4-FFF2-40B4-BE49-F238E27FC236}">
                  <a16:creationId xmlns:a16="http://schemas.microsoft.com/office/drawing/2014/main" id="{3AC58308-E0F7-4BE9-3497-9AAC2CB0AF37}"/>
                </a:ext>
              </a:extLst>
            </p:cNvPr>
            <p:cNvSpPr/>
            <p:nvPr/>
          </p:nvSpPr>
          <p:spPr>
            <a:xfrm>
              <a:off x="4627192" y="4495188"/>
              <a:ext cx="327916" cy="638344"/>
            </a:xfrm>
            <a:custGeom>
              <a:avLst/>
              <a:gdLst>
                <a:gd name="connsiteX0" fmla="*/ 325730 w 327916"/>
                <a:gd name="connsiteY0" fmla="*/ 638345 h 638344"/>
                <a:gd name="connsiteX1" fmla="*/ 0 w 327916"/>
                <a:gd name="connsiteY1" fmla="*/ 638345 h 638344"/>
                <a:gd name="connsiteX2" fmla="*/ 0 w 327916"/>
                <a:gd name="connsiteY2" fmla="*/ 0 h 638344"/>
                <a:gd name="connsiteX3" fmla="*/ 137725 w 327916"/>
                <a:gd name="connsiteY3" fmla="*/ 0 h 638344"/>
                <a:gd name="connsiteX4" fmla="*/ 137725 w 327916"/>
                <a:gd name="connsiteY4" fmla="*/ 500620 h 638344"/>
                <a:gd name="connsiteX5" fmla="*/ 327917 w 327916"/>
                <a:gd name="connsiteY5" fmla="*/ 500620 h 638344"/>
                <a:gd name="connsiteX6" fmla="*/ 327917 w 327916"/>
                <a:gd name="connsiteY6" fmla="*/ 638345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916" h="638344">
                  <a:moveTo>
                    <a:pt x="325730" y="638345"/>
                  </a:moveTo>
                  <a:lnTo>
                    <a:pt x="0" y="638345"/>
                  </a:lnTo>
                  <a:lnTo>
                    <a:pt x="0" y="0"/>
                  </a:lnTo>
                  <a:lnTo>
                    <a:pt x="137725" y="0"/>
                  </a:lnTo>
                  <a:lnTo>
                    <a:pt x="137725" y="500620"/>
                  </a:lnTo>
                  <a:lnTo>
                    <a:pt x="327917" y="500620"/>
                  </a:lnTo>
                  <a:lnTo>
                    <a:pt x="327917" y="638345"/>
                  </a:lnTo>
                  <a:close/>
                </a:path>
              </a:pathLst>
            </a:custGeom>
            <a:grpFill/>
            <a:ln w="21819" cap="flat">
              <a:noFill/>
              <a:prstDash val="solid"/>
              <a:miter/>
            </a:ln>
          </p:spPr>
          <p:txBody>
            <a:bodyPr rtlCol="0" anchor="ctr"/>
            <a:lstStyle/>
            <a:p>
              <a:endParaRPr lang="de-DE"/>
            </a:p>
          </p:txBody>
        </p:sp>
        <p:sp>
          <p:nvSpPr>
            <p:cNvPr id="15" name="Freihandform: Form 14">
              <a:extLst>
                <a:ext uri="{FF2B5EF4-FFF2-40B4-BE49-F238E27FC236}">
                  <a16:creationId xmlns:a16="http://schemas.microsoft.com/office/drawing/2014/main" id="{375EC271-D26D-FCD0-D79F-D828597F1886}"/>
                </a:ext>
              </a:extLst>
            </p:cNvPr>
            <p:cNvSpPr/>
            <p:nvPr/>
          </p:nvSpPr>
          <p:spPr>
            <a:xfrm>
              <a:off x="5849228" y="4495188"/>
              <a:ext cx="349777" cy="638344"/>
            </a:xfrm>
            <a:custGeom>
              <a:avLst/>
              <a:gdLst>
                <a:gd name="connsiteX0" fmla="*/ 349778 w 349777"/>
                <a:gd name="connsiteY0" fmla="*/ 638345 h 638344"/>
                <a:gd name="connsiteX1" fmla="*/ 0 w 349777"/>
                <a:gd name="connsiteY1" fmla="*/ 638345 h 638344"/>
                <a:gd name="connsiteX2" fmla="*/ 0 w 349777"/>
                <a:gd name="connsiteY2" fmla="*/ 0 h 638344"/>
                <a:gd name="connsiteX3" fmla="*/ 349778 w 349777"/>
                <a:gd name="connsiteY3" fmla="*/ 0 h 638344"/>
                <a:gd name="connsiteX4" fmla="*/ 349778 w 349777"/>
                <a:gd name="connsiteY4" fmla="*/ 137725 h 638344"/>
                <a:gd name="connsiteX5" fmla="*/ 137725 w 349777"/>
                <a:gd name="connsiteY5" fmla="*/ 137725 h 638344"/>
                <a:gd name="connsiteX6" fmla="*/ 137725 w 349777"/>
                <a:gd name="connsiteY6" fmla="*/ 251403 h 638344"/>
                <a:gd name="connsiteX7" fmla="*/ 349778 w 349777"/>
                <a:gd name="connsiteY7" fmla="*/ 251403 h 638344"/>
                <a:gd name="connsiteX8" fmla="*/ 349778 w 349777"/>
                <a:gd name="connsiteY8" fmla="*/ 389128 h 638344"/>
                <a:gd name="connsiteX9" fmla="*/ 137725 w 349777"/>
                <a:gd name="connsiteY9" fmla="*/ 389128 h 638344"/>
                <a:gd name="connsiteX10" fmla="*/ 137725 w 349777"/>
                <a:gd name="connsiteY10" fmla="*/ 500620 h 638344"/>
                <a:gd name="connsiteX11" fmla="*/ 349778 w 349777"/>
                <a:gd name="connsiteY11" fmla="*/ 500620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9777" h="638344">
                  <a:moveTo>
                    <a:pt x="349778" y="638345"/>
                  </a:moveTo>
                  <a:lnTo>
                    <a:pt x="0" y="638345"/>
                  </a:lnTo>
                  <a:lnTo>
                    <a:pt x="0" y="0"/>
                  </a:lnTo>
                  <a:lnTo>
                    <a:pt x="349778" y="0"/>
                  </a:lnTo>
                  <a:lnTo>
                    <a:pt x="349778" y="137725"/>
                  </a:lnTo>
                  <a:lnTo>
                    <a:pt x="137725" y="137725"/>
                  </a:lnTo>
                  <a:lnTo>
                    <a:pt x="137725" y="251403"/>
                  </a:lnTo>
                  <a:lnTo>
                    <a:pt x="349778" y="251403"/>
                  </a:lnTo>
                  <a:lnTo>
                    <a:pt x="349778" y="389128"/>
                  </a:lnTo>
                  <a:lnTo>
                    <a:pt x="137725" y="389128"/>
                  </a:lnTo>
                  <a:lnTo>
                    <a:pt x="137725" y="500620"/>
                  </a:lnTo>
                  <a:lnTo>
                    <a:pt x="349778" y="500620"/>
                  </a:lnTo>
                  <a:close/>
                </a:path>
              </a:pathLst>
            </a:custGeom>
            <a:grpFill/>
            <a:ln w="21819" cap="flat">
              <a:noFill/>
              <a:prstDash val="solid"/>
              <a:miter/>
            </a:ln>
          </p:spPr>
          <p:txBody>
            <a:bodyPr rtlCol="0" anchor="ctr"/>
            <a:lstStyle/>
            <a:p>
              <a:endParaRPr lang="de-DE"/>
            </a:p>
          </p:txBody>
        </p:sp>
        <p:sp>
          <p:nvSpPr>
            <p:cNvPr id="16" name="Freihandform: Form 15">
              <a:extLst>
                <a:ext uri="{FF2B5EF4-FFF2-40B4-BE49-F238E27FC236}">
                  <a16:creationId xmlns:a16="http://schemas.microsoft.com/office/drawing/2014/main" id="{AD0D19EF-8975-77DF-7769-749845325C49}"/>
                </a:ext>
              </a:extLst>
            </p:cNvPr>
            <p:cNvSpPr/>
            <p:nvPr/>
          </p:nvSpPr>
          <p:spPr>
            <a:xfrm>
              <a:off x="6321428" y="4495188"/>
              <a:ext cx="441594" cy="638344"/>
            </a:xfrm>
            <a:custGeom>
              <a:avLst/>
              <a:gdLst>
                <a:gd name="connsiteX0" fmla="*/ 439408 w 441594"/>
                <a:gd name="connsiteY0" fmla="*/ 450339 h 638344"/>
                <a:gd name="connsiteX1" fmla="*/ 391314 w 441594"/>
                <a:gd name="connsiteY1" fmla="*/ 360708 h 638344"/>
                <a:gd name="connsiteX2" fmla="*/ 439408 w 441594"/>
                <a:gd name="connsiteY2" fmla="*/ 273264 h 638344"/>
                <a:gd name="connsiteX3" fmla="*/ 439408 w 441594"/>
                <a:gd name="connsiteY3" fmla="*/ 179261 h 638344"/>
                <a:gd name="connsiteX4" fmla="*/ 266706 w 441594"/>
                <a:gd name="connsiteY4" fmla="*/ 0 h 638344"/>
                <a:gd name="connsiteX5" fmla="*/ 0 w 441594"/>
                <a:gd name="connsiteY5" fmla="*/ 0 h 638344"/>
                <a:gd name="connsiteX6" fmla="*/ 0 w 441594"/>
                <a:gd name="connsiteY6" fmla="*/ 638345 h 638344"/>
                <a:gd name="connsiteX7" fmla="*/ 137725 w 441594"/>
                <a:gd name="connsiteY7" fmla="*/ 638345 h 638344"/>
                <a:gd name="connsiteX8" fmla="*/ 137725 w 441594"/>
                <a:gd name="connsiteY8" fmla="*/ 435036 h 638344"/>
                <a:gd name="connsiteX9" fmla="*/ 251403 w 441594"/>
                <a:gd name="connsiteY9" fmla="*/ 435036 h 638344"/>
                <a:gd name="connsiteX10" fmla="*/ 314800 w 441594"/>
                <a:gd name="connsiteY10" fmla="*/ 500620 h 638344"/>
                <a:gd name="connsiteX11" fmla="*/ 314800 w 441594"/>
                <a:gd name="connsiteY11" fmla="*/ 638345 h 638344"/>
                <a:gd name="connsiteX12" fmla="*/ 441594 w 441594"/>
                <a:gd name="connsiteY12" fmla="*/ 638345 h 638344"/>
                <a:gd name="connsiteX13" fmla="*/ 439408 w 441594"/>
                <a:gd name="connsiteY13" fmla="*/ 450339 h 638344"/>
                <a:gd name="connsiteX14" fmla="*/ 312614 w 441594"/>
                <a:gd name="connsiteY14" fmla="*/ 244844 h 638344"/>
                <a:gd name="connsiteX15" fmla="*/ 251403 w 441594"/>
                <a:gd name="connsiteY15" fmla="*/ 306056 h 638344"/>
                <a:gd name="connsiteX16" fmla="*/ 137725 w 441594"/>
                <a:gd name="connsiteY16" fmla="*/ 306056 h 638344"/>
                <a:gd name="connsiteX17" fmla="*/ 137725 w 441594"/>
                <a:gd name="connsiteY17" fmla="*/ 135539 h 638344"/>
                <a:gd name="connsiteX18" fmla="*/ 251403 w 441594"/>
                <a:gd name="connsiteY18" fmla="*/ 135539 h 638344"/>
                <a:gd name="connsiteX19" fmla="*/ 314800 w 441594"/>
                <a:gd name="connsiteY19" fmla="*/ 196750 h 638344"/>
                <a:gd name="connsiteX20" fmla="*/ 314800 w 441594"/>
                <a:gd name="connsiteY20" fmla="*/ 244844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41594" h="638344">
                  <a:moveTo>
                    <a:pt x="439408" y="450339"/>
                  </a:moveTo>
                  <a:cubicBezTo>
                    <a:pt x="439408" y="395686"/>
                    <a:pt x="406617" y="369453"/>
                    <a:pt x="391314" y="360708"/>
                  </a:cubicBezTo>
                  <a:cubicBezTo>
                    <a:pt x="408803" y="349778"/>
                    <a:pt x="439408" y="323545"/>
                    <a:pt x="439408" y="273264"/>
                  </a:cubicBezTo>
                  <a:cubicBezTo>
                    <a:pt x="439408" y="238286"/>
                    <a:pt x="439408" y="179261"/>
                    <a:pt x="439408" y="179261"/>
                  </a:cubicBezTo>
                  <a:cubicBezTo>
                    <a:pt x="439408" y="26233"/>
                    <a:pt x="384755" y="0"/>
                    <a:pt x="266706" y="0"/>
                  </a:cubicBezTo>
                  <a:lnTo>
                    <a:pt x="0" y="0"/>
                  </a:lnTo>
                  <a:lnTo>
                    <a:pt x="0" y="638345"/>
                  </a:lnTo>
                  <a:lnTo>
                    <a:pt x="137725" y="638345"/>
                  </a:lnTo>
                  <a:lnTo>
                    <a:pt x="137725" y="435036"/>
                  </a:lnTo>
                  <a:lnTo>
                    <a:pt x="251403" y="435036"/>
                  </a:lnTo>
                  <a:cubicBezTo>
                    <a:pt x="301683" y="435036"/>
                    <a:pt x="314800" y="459083"/>
                    <a:pt x="314800" y="500620"/>
                  </a:cubicBezTo>
                  <a:lnTo>
                    <a:pt x="314800" y="638345"/>
                  </a:lnTo>
                  <a:lnTo>
                    <a:pt x="441594" y="638345"/>
                  </a:lnTo>
                  <a:lnTo>
                    <a:pt x="439408" y="450339"/>
                  </a:lnTo>
                  <a:close/>
                  <a:moveTo>
                    <a:pt x="312614" y="244844"/>
                  </a:moveTo>
                  <a:cubicBezTo>
                    <a:pt x="312614" y="277636"/>
                    <a:pt x="284195" y="306056"/>
                    <a:pt x="251403" y="306056"/>
                  </a:cubicBezTo>
                  <a:lnTo>
                    <a:pt x="137725" y="306056"/>
                  </a:lnTo>
                  <a:lnTo>
                    <a:pt x="137725" y="135539"/>
                  </a:lnTo>
                  <a:lnTo>
                    <a:pt x="251403" y="135539"/>
                  </a:lnTo>
                  <a:cubicBezTo>
                    <a:pt x="290753" y="135539"/>
                    <a:pt x="314800" y="166144"/>
                    <a:pt x="314800" y="196750"/>
                  </a:cubicBezTo>
                  <a:lnTo>
                    <a:pt x="314800" y="244844"/>
                  </a:lnTo>
                  <a:close/>
                </a:path>
              </a:pathLst>
            </a:custGeom>
            <a:grpFill/>
            <a:ln w="21819" cap="flat">
              <a:noFill/>
              <a:prstDash val="solid"/>
              <a:miter/>
            </a:ln>
          </p:spPr>
          <p:txBody>
            <a:bodyPr rtlCol="0" anchor="ctr"/>
            <a:lstStyle/>
            <a:p>
              <a:endParaRPr lang="de-DE"/>
            </a:p>
          </p:txBody>
        </p:sp>
        <p:sp>
          <p:nvSpPr>
            <p:cNvPr id="17" name="Freihandform: Form 16">
              <a:extLst>
                <a:ext uri="{FF2B5EF4-FFF2-40B4-BE49-F238E27FC236}">
                  <a16:creationId xmlns:a16="http://schemas.microsoft.com/office/drawing/2014/main" id="{E8280F06-77AE-E208-653E-F0027530410F}"/>
                </a:ext>
              </a:extLst>
            </p:cNvPr>
            <p:cNvSpPr/>
            <p:nvPr/>
          </p:nvSpPr>
          <p:spPr>
            <a:xfrm>
              <a:off x="5055670" y="4495188"/>
              <a:ext cx="675508" cy="642716"/>
            </a:xfrm>
            <a:custGeom>
              <a:avLst/>
              <a:gdLst>
                <a:gd name="connsiteX0" fmla="*/ 489689 w 675508"/>
                <a:gd name="connsiteY0" fmla="*/ 0 h 642716"/>
                <a:gd name="connsiteX1" fmla="*/ 424106 w 675508"/>
                <a:gd name="connsiteY1" fmla="*/ 0 h 642716"/>
                <a:gd name="connsiteX2" fmla="*/ 334475 w 675508"/>
                <a:gd name="connsiteY2" fmla="*/ 48094 h 642716"/>
                <a:gd name="connsiteX3" fmla="*/ 247031 w 675508"/>
                <a:gd name="connsiteY3" fmla="*/ 0 h 642716"/>
                <a:gd name="connsiteX4" fmla="*/ 181447 w 675508"/>
                <a:gd name="connsiteY4" fmla="*/ 0 h 642716"/>
                <a:gd name="connsiteX5" fmla="*/ 0 w 675508"/>
                <a:gd name="connsiteY5" fmla="*/ 192378 h 642716"/>
                <a:gd name="connsiteX6" fmla="*/ 0 w 675508"/>
                <a:gd name="connsiteY6" fmla="*/ 640531 h 642716"/>
                <a:gd name="connsiteX7" fmla="*/ 135539 w 675508"/>
                <a:gd name="connsiteY7" fmla="*/ 640531 h 642716"/>
                <a:gd name="connsiteX8" fmla="*/ 135539 w 675508"/>
                <a:gd name="connsiteY8" fmla="*/ 177075 h 642716"/>
                <a:gd name="connsiteX9" fmla="*/ 139911 w 675508"/>
                <a:gd name="connsiteY9" fmla="*/ 155214 h 642716"/>
                <a:gd name="connsiteX10" fmla="*/ 155214 w 675508"/>
                <a:gd name="connsiteY10" fmla="*/ 150842 h 642716"/>
                <a:gd name="connsiteX11" fmla="*/ 249217 w 675508"/>
                <a:gd name="connsiteY11" fmla="*/ 150842 h 642716"/>
                <a:gd name="connsiteX12" fmla="*/ 264519 w 675508"/>
                <a:gd name="connsiteY12" fmla="*/ 155214 h 642716"/>
                <a:gd name="connsiteX13" fmla="*/ 268892 w 675508"/>
                <a:gd name="connsiteY13" fmla="*/ 179261 h 642716"/>
                <a:gd name="connsiteX14" fmla="*/ 268892 w 675508"/>
                <a:gd name="connsiteY14" fmla="*/ 642717 h 642716"/>
                <a:gd name="connsiteX15" fmla="*/ 268892 w 675508"/>
                <a:gd name="connsiteY15" fmla="*/ 642717 h 642716"/>
                <a:gd name="connsiteX16" fmla="*/ 406617 w 675508"/>
                <a:gd name="connsiteY16" fmla="*/ 642717 h 642716"/>
                <a:gd name="connsiteX17" fmla="*/ 406617 w 675508"/>
                <a:gd name="connsiteY17" fmla="*/ 179261 h 642716"/>
                <a:gd name="connsiteX18" fmla="*/ 410989 w 675508"/>
                <a:gd name="connsiteY18" fmla="*/ 155214 h 642716"/>
                <a:gd name="connsiteX19" fmla="*/ 426292 w 675508"/>
                <a:gd name="connsiteY19" fmla="*/ 150842 h 642716"/>
                <a:gd name="connsiteX20" fmla="*/ 520294 w 675508"/>
                <a:gd name="connsiteY20" fmla="*/ 150842 h 642716"/>
                <a:gd name="connsiteX21" fmla="*/ 535597 w 675508"/>
                <a:gd name="connsiteY21" fmla="*/ 155214 h 642716"/>
                <a:gd name="connsiteX22" fmla="*/ 539970 w 675508"/>
                <a:gd name="connsiteY22" fmla="*/ 177075 h 642716"/>
                <a:gd name="connsiteX23" fmla="*/ 539970 w 675508"/>
                <a:gd name="connsiteY23" fmla="*/ 640531 h 642716"/>
                <a:gd name="connsiteX24" fmla="*/ 675509 w 675508"/>
                <a:gd name="connsiteY24" fmla="*/ 640531 h 642716"/>
                <a:gd name="connsiteX25" fmla="*/ 675509 w 675508"/>
                <a:gd name="connsiteY25" fmla="*/ 192378 h 642716"/>
                <a:gd name="connsiteX26" fmla="*/ 489689 w 675508"/>
                <a:gd name="connsiteY26" fmla="*/ 0 h 642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5508" h="642716">
                  <a:moveTo>
                    <a:pt x="489689" y="0"/>
                  </a:moveTo>
                  <a:lnTo>
                    <a:pt x="424106" y="0"/>
                  </a:lnTo>
                  <a:cubicBezTo>
                    <a:pt x="369453" y="0"/>
                    <a:pt x="343220" y="32792"/>
                    <a:pt x="334475" y="48094"/>
                  </a:cubicBezTo>
                  <a:cubicBezTo>
                    <a:pt x="323544" y="30606"/>
                    <a:pt x="297311" y="0"/>
                    <a:pt x="247031" y="0"/>
                  </a:cubicBezTo>
                  <a:lnTo>
                    <a:pt x="181447" y="0"/>
                  </a:lnTo>
                  <a:cubicBezTo>
                    <a:pt x="43722" y="0"/>
                    <a:pt x="0" y="26233"/>
                    <a:pt x="0" y="192378"/>
                  </a:cubicBezTo>
                  <a:lnTo>
                    <a:pt x="0" y="640531"/>
                  </a:lnTo>
                  <a:lnTo>
                    <a:pt x="135539" y="640531"/>
                  </a:lnTo>
                  <a:lnTo>
                    <a:pt x="135539" y="177075"/>
                  </a:lnTo>
                  <a:cubicBezTo>
                    <a:pt x="135539" y="163958"/>
                    <a:pt x="135539" y="157400"/>
                    <a:pt x="139911" y="155214"/>
                  </a:cubicBezTo>
                  <a:cubicBezTo>
                    <a:pt x="142097" y="153028"/>
                    <a:pt x="148655" y="150842"/>
                    <a:pt x="155214" y="150842"/>
                  </a:cubicBezTo>
                  <a:lnTo>
                    <a:pt x="249217" y="150842"/>
                  </a:lnTo>
                  <a:cubicBezTo>
                    <a:pt x="255775" y="150842"/>
                    <a:pt x="260147" y="150842"/>
                    <a:pt x="264519" y="155214"/>
                  </a:cubicBezTo>
                  <a:cubicBezTo>
                    <a:pt x="268892" y="159586"/>
                    <a:pt x="268892" y="163958"/>
                    <a:pt x="268892" y="179261"/>
                  </a:cubicBezTo>
                  <a:lnTo>
                    <a:pt x="268892" y="642717"/>
                  </a:lnTo>
                  <a:lnTo>
                    <a:pt x="268892" y="642717"/>
                  </a:lnTo>
                  <a:lnTo>
                    <a:pt x="406617" y="642717"/>
                  </a:lnTo>
                  <a:lnTo>
                    <a:pt x="406617" y="179261"/>
                  </a:lnTo>
                  <a:cubicBezTo>
                    <a:pt x="406617" y="166144"/>
                    <a:pt x="406617" y="159586"/>
                    <a:pt x="410989" y="155214"/>
                  </a:cubicBezTo>
                  <a:cubicBezTo>
                    <a:pt x="413175" y="153028"/>
                    <a:pt x="419734" y="150842"/>
                    <a:pt x="426292" y="150842"/>
                  </a:cubicBezTo>
                  <a:lnTo>
                    <a:pt x="520294" y="150842"/>
                  </a:lnTo>
                  <a:cubicBezTo>
                    <a:pt x="526853" y="150842"/>
                    <a:pt x="533411" y="150842"/>
                    <a:pt x="535597" y="155214"/>
                  </a:cubicBezTo>
                  <a:cubicBezTo>
                    <a:pt x="539970" y="159586"/>
                    <a:pt x="539970" y="163958"/>
                    <a:pt x="539970" y="177075"/>
                  </a:cubicBezTo>
                  <a:lnTo>
                    <a:pt x="539970" y="640531"/>
                  </a:lnTo>
                  <a:lnTo>
                    <a:pt x="675509" y="640531"/>
                  </a:lnTo>
                  <a:lnTo>
                    <a:pt x="675509" y="192378"/>
                  </a:lnTo>
                  <a:cubicBezTo>
                    <a:pt x="671136" y="26233"/>
                    <a:pt x="627414" y="0"/>
                    <a:pt x="489689" y="0"/>
                  </a:cubicBezTo>
                  <a:close/>
                </a:path>
              </a:pathLst>
            </a:custGeom>
            <a:grpFill/>
            <a:ln w="21819" cap="flat">
              <a:noFill/>
              <a:prstDash val="solid"/>
              <a:miter/>
            </a:ln>
          </p:spPr>
          <p:txBody>
            <a:bodyPr rtlCol="0" anchor="ctr"/>
            <a:lstStyle/>
            <a:p>
              <a:endParaRPr lang="de-DE"/>
            </a:p>
          </p:txBody>
        </p:sp>
      </p:grpSp>
      <p:sp>
        <p:nvSpPr>
          <p:cNvPr id="5" name="Datumsplatzhalter 4">
            <a:extLst>
              <a:ext uri="{FF2B5EF4-FFF2-40B4-BE49-F238E27FC236}">
                <a16:creationId xmlns:a16="http://schemas.microsoft.com/office/drawing/2014/main" id="{CC5ACDE0-8F5B-2873-7696-3E5B65A80751}"/>
              </a:ext>
            </a:extLst>
          </p:cNvPr>
          <p:cNvSpPr>
            <a:spLocks noGrp="1"/>
          </p:cNvSpPr>
          <p:nvPr>
            <p:ph type="dt" sz="half" idx="15"/>
          </p:nvPr>
        </p:nvSpPr>
        <p:spPr/>
        <p:txBody>
          <a:bodyPr/>
          <a:lstStyle>
            <a:lvl1pPr>
              <a:defRPr>
                <a:solidFill>
                  <a:schemeClr val="bg1"/>
                </a:solidFill>
              </a:defRPr>
            </a:lvl1pPr>
          </a:lstStyle>
          <a:p>
            <a:r>
              <a:rPr lang="de-DE"/>
              <a:t>3/18/2024</a:t>
            </a:r>
            <a:endParaRPr lang="de-DE" dirty="0"/>
          </a:p>
        </p:txBody>
      </p:sp>
      <p:sp>
        <p:nvSpPr>
          <p:cNvPr id="18" name="Fußzeilenplatzhalter 17">
            <a:extLst>
              <a:ext uri="{FF2B5EF4-FFF2-40B4-BE49-F238E27FC236}">
                <a16:creationId xmlns:a16="http://schemas.microsoft.com/office/drawing/2014/main" id="{62621ACC-714D-2030-8B80-BEFFBCF7FC85}"/>
              </a:ext>
            </a:extLst>
          </p:cNvPr>
          <p:cNvSpPr>
            <a:spLocks noGrp="1"/>
          </p:cNvSpPr>
          <p:nvPr>
            <p:ph type="ftr" sz="quarter" idx="16"/>
          </p:nvPr>
        </p:nvSpPr>
        <p:spPr/>
        <p:txBody>
          <a:bodyPr/>
          <a:lstStyle>
            <a:lvl1pPr>
              <a:defRPr>
                <a:solidFill>
                  <a:schemeClr val="bg1"/>
                </a:solidFill>
              </a:defRPr>
            </a:lvl1pPr>
          </a:lstStyle>
          <a:p>
            <a:endParaRPr lang="de-DE" dirty="0"/>
          </a:p>
        </p:txBody>
      </p:sp>
      <p:sp>
        <p:nvSpPr>
          <p:cNvPr id="19" name="Foliennummernplatzhalter 18">
            <a:extLst>
              <a:ext uri="{FF2B5EF4-FFF2-40B4-BE49-F238E27FC236}">
                <a16:creationId xmlns:a16="http://schemas.microsoft.com/office/drawing/2014/main" id="{29A95247-8BF6-D414-D1F5-023D27CB420E}"/>
              </a:ext>
            </a:extLst>
          </p:cNvPr>
          <p:cNvSpPr>
            <a:spLocks noGrp="1"/>
          </p:cNvSpPr>
          <p:nvPr>
            <p:ph type="sldNum" sz="quarter" idx="17"/>
          </p:nvPr>
        </p:nvSpPr>
        <p:spPr/>
        <p:txBody>
          <a:bodyPr/>
          <a:lstStyle>
            <a:lvl1pPr>
              <a:defRPr>
                <a:solidFill>
                  <a:schemeClr val="bg1"/>
                </a:solidFill>
              </a:defRPr>
            </a:lvl1pPr>
          </a:lstStyle>
          <a:p>
            <a:r>
              <a:rPr lang="de-DE"/>
              <a:t>Seite </a:t>
            </a:r>
            <a:fld id="{63A738E5-7FE5-4F0E-80D4-9B95A408A0CB}" type="slidenum">
              <a:rPr lang="de-DE" smtClean="0"/>
              <a:pPr/>
              <a:t>‹Nr.›</a:t>
            </a:fld>
            <a:endParaRPr lang="de-DE" dirty="0"/>
          </a:p>
        </p:txBody>
      </p:sp>
    </p:spTree>
    <p:extLst>
      <p:ext uri="{BB962C8B-B14F-4D97-AF65-F5344CB8AC3E}">
        <p14:creationId xmlns:p14="http://schemas.microsoft.com/office/powerpoint/2010/main" val="17043770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hell+Bild rechts 2/3">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977EB5B-8228-C601-1176-E715BE9D4B28}"/>
              </a:ext>
            </a:extLst>
          </p:cNvPr>
          <p:cNvGraphicFramePr>
            <a:graphicFrameLocks noChangeAspect="1"/>
          </p:cNvGraphicFramePr>
          <p:nvPr userDrawn="1">
            <p:custDataLst>
              <p:tags r:id="rId2"/>
            </p:custDataLst>
            <p:extLst>
              <p:ext uri="{D42A27DB-BD31-4B8C-83A1-F6EECF244321}">
                <p14:modId xmlns:p14="http://schemas.microsoft.com/office/powerpoint/2010/main" val="953057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4" name="think-cell Folie" r:id="rId4" imgW="592" imgH="591" progId="TCLayout.ActiveDocument.1">
                  <p:embed/>
                </p:oleObj>
              </mc:Choice>
              <mc:Fallback>
                <p:oleObj name="think-cell Folie" r:id="rId4" imgW="592" imgH="591" progId="TCLayout.ActiveDocument.1">
                  <p:embed/>
                  <p:pic>
                    <p:nvPicPr>
                      <p:cNvPr id="11" name="think-cell data - do not delete" hidden="1">
                        <a:extLst>
                          <a:ext uri="{FF2B5EF4-FFF2-40B4-BE49-F238E27FC236}">
                            <a16:creationId xmlns:a16="http://schemas.microsoft.com/office/drawing/2014/main" id="{4977EB5B-8228-C601-1176-E715BE9D4B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F3D29DB-C29F-7E03-7D11-D8E722D7D825}"/>
              </a:ext>
            </a:extLst>
          </p:cNvPr>
          <p:cNvSpPr>
            <a:spLocks noGrp="1"/>
          </p:cNvSpPr>
          <p:nvPr>
            <p:ph type="title"/>
          </p:nvPr>
        </p:nvSpPr>
        <p:spPr>
          <a:xfrm>
            <a:off x="407991" y="404813"/>
            <a:ext cx="3298134" cy="830997"/>
          </a:xfrm>
        </p:spPr>
        <p:txBody>
          <a:bodyPr vert="horz"/>
          <a:lstStyle/>
          <a:p>
            <a:r>
              <a:rPr lang="de-DE"/>
              <a:t>Mastertitelformat bearbeiten</a:t>
            </a:r>
            <a:endParaRPr lang="en-US" dirty="0"/>
          </a:p>
        </p:txBody>
      </p:sp>
      <p:sp>
        <p:nvSpPr>
          <p:cNvPr id="3" name="Inhaltsplatzhalter 2">
            <a:extLst>
              <a:ext uri="{FF2B5EF4-FFF2-40B4-BE49-F238E27FC236}">
                <a16:creationId xmlns:a16="http://schemas.microsoft.com/office/drawing/2014/main" id="{A50FCC40-B9BD-CC74-817B-4FE8B7ABC4EC}"/>
              </a:ext>
            </a:extLst>
          </p:cNvPr>
          <p:cNvSpPr>
            <a:spLocks noGrp="1"/>
          </p:cNvSpPr>
          <p:nvPr>
            <p:ph idx="1"/>
          </p:nvPr>
        </p:nvSpPr>
        <p:spPr>
          <a:xfrm>
            <a:off x="407991" y="2060847"/>
            <a:ext cx="3298134" cy="411611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Bildplatzhalter 22">
            <a:extLst>
              <a:ext uri="{FF2B5EF4-FFF2-40B4-BE49-F238E27FC236}">
                <a16:creationId xmlns:a16="http://schemas.microsoft.com/office/drawing/2014/main" id="{0CCE803F-76E1-51EF-2D37-8BB55EF492E6}"/>
              </a:ext>
            </a:extLst>
          </p:cNvPr>
          <p:cNvSpPr>
            <a:spLocks noGrp="1"/>
          </p:cNvSpPr>
          <p:nvPr>
            <p:ph type="pic" sz="quarter" idx="14"/>
          </p:nvPr>
        </p:nvSpPr>
        <p:spPr>
          <a:xfrm>
            <a:off x="4066125" y="0"/>
            <a:ext cx="8125875" cy="6858000"/>
          </a:xfrm>
          <a:solidFill>
            <a:schemeClr val="tx1"/>
          </a:solidFill>
        </p:spPr>
        <p:txBody>
          <a:bodyPr/>
          <a:lstStyle>
            <a:lvl1pPr>
              <a:defRPr>
                <a:solidFill>
                  <a:schemeClr val="bg1"/>
                </a:solidFill>
              </a:defRPr>
            </a:lvl1pPr>
          </a:lstStyle>
          <a:p>
            <a:r>
              <a:rPr lang="de-DE"/>
              <a:t>Bild durch Klicken auf Symbol hinzufügen</a:t>
            </a:r>
          </a:p>
        </p:txBody>
      </p:sp>
      <p:sp>
        <p:nvSpPr>
          <p:cNvPr id="5" name="Datumsplatzhalter 4">
            <a:extLst>
              <a:ext uri="{FF2B5EF4-FFF2-40B4-BE49-F238E27FC236}">
                <a16:creationId xmlns:a16="http://schemas.microsoft.com/office/drawing/2014/main" id="{1FF41598-3133-DEA5-4B4A-F97352D0E718}"/>
              </a:ext>
            </a:extLst>
          </p:cNvPr>
          <p:cNvSpPr>
            <a:spLocks noGrp="1"/>
          </p:cNvSpPr>
          <p:nvPr>
            <p:ph type="dt" sz="half" idx="15"/>
          </p:nvPr>
        </p:nvSpPr>
        <p:spPr/>
        <p:txBody>
          <a:bodyPr/>
          <a:lstStyle>
            <a:lvl1pPr>
              <a:defRPr>
                <a:solidFill>
                  <a:schemeClr val="bg1"/>
                </a:solidFill>
              </a:defRPr>
            </a:lvl1pPr>
          </a:lstStyle>
          <a:p>
            <a:r>
              <a:rPr lang="de-DE"/>
              <a:t>3/18/2024</a:t>
            </a:r>
            <a:endParaRPr lang="de-DE" dirty="0"/>
          </a:p>
        </p:txBody>
      </p:sp>
      <p:sp>
        <p:nvSpPr>
          <p:cNvPr id="6" name="Fußzeilenplatzhalter 5">
            <a:extLst>
              <a:ext uri="{FF2B5EF4-FFF2-40B4-BE49-F238E27FC236}">
                <a16:creationId xmlns:a16="http://schemas.microsoft.com/office/drawing/2014/main" id="{6D056E14-C148-45DE-8E76-D62ABCF06265}"/>
              </a:ext>
            </a:extLst>
          </p:cNvPr>
          <p:cNvSpPr>
            <a:spLocks noGrp="1"/>
          </p:cNvSpPr>
          <p:nvPr>
            <p:ph type="ftr" sz="quarter" idx="16"/>
          </p:nvPr>
        </p:nvSpPr>
        <p:spPr/>
        <p:txBody>
          <a:bodyPr/>
          <a:lstStyle>
            <a:lvl1pPr>
              <a:defRPr>
                <a:solidFill>
                  <a:schemeClr val="bg1"/>
                </a:solidFill>
              </a:defRPr>
            </a:lvl1pPr>
          </a:lstStyle>
          <a:p>
            <a:endParaRPr lang="de-DE" dirty="0"/>
          </a:p>
        </p:txBody>
      </p:sp>
      <p:sp>
        <p:nvSpPr>
          <p:cNvPr id="10" name="Foliennummernplatzhalter 9">
            <a:extLst>
              <a:ext uri="{FF2B5EF4-FFF2-40B4-BE49-F238E27FC236}">
                <a16:creationId xmlns:a16="http://schemas.microsoft.com/office/drawing/2014/main" id="{77F5AA81-389D-43B3-8365-FD92204D48A8}"/>
              </a:ext>
            </a:extLst>
          </p:cNvPr>
          <p:cNvSpPr>
            <a:spLocks noGrp="1"/>
          </p:cNvSpPr>
          <p:nvPr>
            <p:ph type="sldNum" sz="quarter" idx="17"/>
          </p:nvPr>
        </p:nvSpPr>
        <p:spPr/>
        <p:txBody>
          <a:bodyPr/>
          <a:lstStyle>
            <a:lvl1pPr>
              <a:defRPr>
                <a:solidFill>
                  <a:schemeClr val="bg1"/>
                </a:solidFill>
              </a:defRPr>
            </a:lvl1pPr>
          </a:lstStyle>
          <a:p>
            <a:r>
              <a:rPr lang="de-DE"/>
              <a:t>Seite </a:t>
            </a:r>
            <a:fld id="{63A738E5-7FE5-4F0E-80D4-9B95A408A0CB}" type="slidenum">
              <a:rPr lang="de-DE" smtClean="0"/>
              <a:pPr/>
              <a:t>‹Nr.›</a:t>
            </a:fld>
            <a:endParaRPr lang="de-DE" dirty="0"/>
          </a:p>
        </p:txBody>
      </p:sp>
    </p:spTree>
    <p:extLst>
      <p:ext uri="{BB962C8B-B14F-4D97-AF65-F5344CB8AC3E}">
        <p14:creationId xmlns:p14="http://schemas.microsoft.com/office/powerpoint/2010/main" val="27011250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75BFF54-B045-6376-ABED-8AFA54570885}"/>
              </a:ext>
            </a:extLst>
          </p:cNvPr>
          <p:cNvGraphicFramePr>
            <a:graphicFrameLocks noChangeAspect="1"/>
          </p:cNvGraphicFramePr>
          <p:nvPr userDrawn="1">
            <p:custDataLst>
              <p:tags r:id="rId18"/>
            </p:custDataLst>
            <p:extLst>
              <p:ext uri="{D42A27DB-BD31-4B8C-83A1-F6EECF244321}">
                <p14:modId xmlns:p14="http://schemas.microsoft.com/office/powerpoint/2010/main" val="3561154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8" name="think-cell Folie" r:id="rId19" imgW="592" imgH="591" progId="TCLayout.ActiveDocument.1">
                  <p:embed/>
                </p:oleObj>
              </mc:Choice>
              <mc:Fallback>
                <p:oleObj name="think-cell Folie" r:id="rId19" imgW="592" imgH="591" progId="TCLayout.ActiveDocument.1">
                  <p:embed/>
                  <p:pic>
                    <p:nvPicPr>
                      <p:cNvPr id="0" name=""/>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24CB42BA-7FFF-86C8-18C9-00F876BC1A1A}"/>
              </a:ext>
            </a:extLst>
          </p:cNvPr>
          <p:cNvSpPr>
            <a:spLocks noGrp="1"/>
          </p:cNvSpPr>
          <p:nvPr>
            <p:ph type="title"/>
          </p:nvPr>
        </p:nvSpPr>
        <p:spPr>
          <a:xfrm>
            <a:off x="407990" y="404813"/>
            <a:ext cx="11376024" cy="415498"/>
          </a:xfrm>
          <a:prstGeom prst="rect">
            <a:avLst/>
          </a:prstGeom>
        </p:spPr>
        <p:txBody>
          <a:bodyPr vert="horz" wrap="square" lIns="0" tIns="0" rIns="0" bIns="0" rtlCol="0" anchor="t">
            <a:spAutoFit/>
          </a:bodyPr>
          <a:lstStyle/>
          <a:p>
            <a:r>
              <a:rPr lang="de-DE" dirty="0"/>
              <a:t>Mastertitelformat bearbeiten</a:t>
            </a:r>
            <a:endParaRPr lang="en-US" dirty="0"/>
          </a:p>
        </p:txBody>
      </p:sp>
      <p:sp>
        <p:nvSpPr>
          <p:cNvPr id="3" name="Textplatzhalter 2">
            <a:extLst>
              <a:ext uri="{FF2B5EF4-FFF2-40B4-BE49-F238E27FC236}">
                <a16:creationId xmlns:a16="http://schemas.microsoft.com/office/drawing/2014/main" id="{A9B79CC4-B984-FE07-86DB-E27C14A76ADA}"/>
              </a:ext>
            </a:extLst>
          </p:cNvPr>
          <p:cNvSpPr>
            <a:spLocks noGrp="1"/>
          </p:cNvSpPr>
          <p:nvPr>
            <p:ph type="body" idx="1"/>
          </p:nvPr>
        </p:nvSpPr>
        <p:spPr>
          <a:xfrm>
            <a:off x="407989" y="2060847"/>
            <a:ext cx="11376024" cy="4116115"/>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umsplatzhalter 3">
            <a:extLst>
              <a:ext uri="{FF2B5EF4-FFF2-40B4-BE49-F238E27FC236}">
                <a16:creationId xmlns:a16="http://schemas.microsoft.com/office/drawing/2014/main" id="{D8CDB560-0E26-E7F2-8CA3-0FFCF92C4660}"/>
              </a:ext>
            </a:extLst>
          </p:cNvPr>
          <p:cNvSpPr>
            <a:spLocks noGrp="1"/>
          </p:cNvSpPr>
          <p:nvPr>
            <p:ph type="dt" sz="half" idx="2"/>
          </p:nvPr>
        </p:nvSpPr>
        <p:spPr>
          <a:xfrm>
            <a:off x="4453373" y="6492746"/>
            <a:ext cx="436017" cy="138499"/>
          </a:xfrm>
          <a:prstGeom prst="rect">
            <a:avLst/>
          </a:prstGeom>
        </p:spPr>
        <p:txBody>
          <a:bodyPr vert="horz" wrap="none" lIns="0" tIns="0" rIns="0" bIns="0" rtlCol="0" anchor="b">
            <a:spAutoFit/>
          </a:bodyPr>
          <a:lstStyle>
            <a:lvl1pPr algn="l">
              <a:defRPr sz="900">
                <a:solidFill>
                  <a:schemeClr val="tx1"/>
                </a:solidFill>
              </a:defRPr>
            </a:lvl1pPr>
          </a:lstStyle>
          <a:p>
            <a:r>
              <a:rPr lang="de-DE"/>
              <a:t>3/18/2024</a:t>
            </a:r>
            <a:endParaRPr lang="de-DE" dirty="0"/>
          </a:p>
        </p:txBody>
      </p:sp>
      <p:sp>
        <p:nvSpPr>
          <p:cNvPr id="5" name="Fußzeilenplatzhalter 4">
            <a:extLst>
              <a:ext uri="{FF2B5EF4-FFF2-40B4-BE49-F238E27FC236}">
                <a16:creationId xmlns:a16="http://schemas.microsoft.com/office/drawing/2014/main" id="{BAFDD9D6-4010-119B-0CC2-1F63BEF6A820}"/>
              </a:ext>
            </a:extLst>
          </p:cNvPr>
          <p:cNvSpPr>
            <a:spLocks noGrp="1"/>
          </p:cNvSpPr>
          <p:nvPr>
            <p:ph type="ftr" sz="quarter" idx="3"/>
          </p:nvPr>
        </p:nvSpPr>
        <p:spPr>
          <a:xfrm>
            <a:off x="4928120" y="6492746"/>
            <a:ext cx="6359135" cy="138499"/>
          </a:xfrm>
          <a:prstGeom prst="rect">
            <a:avLst/>
          </a:prstGeom>
        </p:spPr>
        <p:txBody>
          <a:bodyPr vert="horz" wrap="square" lIns="0" tIns="0" rIns="0" bIns="0" rtlCol="0" anchor="b">
            <a:spAutoFit/>
          </a:bodyPr>
          <a:lstStyle>
            <a:lvl1pPr algn="r">
              <a:defRPr sz="900">
                <a:solidFill>
                  <a:schemeClr val="tx1"/>
                </a:solidFill>
              </a:defRPr>
            </a:lvl1pPr>
          </a:lstStyle>
          <a:p>
            <a:endParaRPr lang="de-DE" dirty="0"/>
          </a:p>
        </p:txBody>
      </p:sp>
      <p:sp>
        <p:nvSpPr>
          <p:cNvPr id="6" name="Foliennummernplatzhalter 5">
            <a:extLst>
              <a:ext uri="{FF2B5EF4-FFF2-40B4-BE49-F238E27FC236}">
                <a16:creationId xmlns:a16="http://schemas.microsoft.com/office/drawing/2014/main" id="{5EEF44F7-14B7-8278-989A-9F73D443C5FF}"/>
              </a:ext>
            </a:extLst>
          </p:cNvPr>
          <p:cNvSpPr>
            <a:spLocks noGrp="1"/>
          </p:cNvSpPr>
          <p:nvPr>
            <p:ph type="sldNum" sz="quarter" idx="4"/>
          </p:nvPr>
        </p:nvSpPr>
        <p:spPr>
          <a:xfrm>
            <a:off x="11360820" y="6492746"/>
            <a:ext cx="423193" cy="138499"/>
          </a:xfrm>
          <a:prstGeom prst="rect">
            <a:avLst/>
          </a:prstGeom>
        </p:spPr>
        <p:txBody>
          <a:bodyPr vert="horz" wrap="none" lIns="0" tIns="0" rIns="0" bIns="0" rtlCol="0" anchor="b">
            <a:spAutoFit/>
          </a:bodyPr>
          <a:lstStyle>
            <a:lvl1pPr algn="r">
              <a:defRPr sz="900">
                <a:solidFill>
                  <a:schemeClr val="tx1"/>
                </a:solidFill>
              </a:defRPr>
            </a:lvl1pPr>
          </a:lstStyle>
          <a:p>
            <a:r>
              <a:rPr lang="de-DE"/>
              <a:t>Seite </a:t>
            </a:r>
            <a:fld id="{63A738E5-7FE5-4F0E-80D4-9B95A408A0CB}" type="slidenum">
              <a:rPr lang="de-DE" smtClean="0"/>
              <a:pPr/>
              <a:t>‹Nr.›</a:t>
            </a:fld>
            <a:endParaRPr lang="de-DE" dirty="0"/>
          </a:p>
        </p:txBody>
      </p:sp>
      <p:grpSp>
        <p:nvGrpSpPr>
          <p:cNvPr id="25" name="Grafik 23">
            <a:extLst>
              <a:ext uri="{FF2B5EF4-FFF2-40B4-BE49-F238E27FC236}">
                <a16:creationId xmlns:a16="http://schemas.microsoft.com/office/drawing/2014/main" id="{29918631-BB4F-59CB-4917-BE599DCE312F}"/>
              </a:ext>
            </a:extLst>
          </p:cNvPr>
          <p:cNvGrpSpPr>
            <a:grpSpLocks noChangeAspect="1"/>
          </p:cNvGrpSpPr>
          <p:nvPr/>
        </p:nvGrpSpPr>
        <p:grpSpPr>
          <a:xfrm>
            <a:off x="407989" y="6453187"/>
            <a:ext cx="918000" cy="158572"/>
            <a:chOff x="3042261" y="4495188"/>
            <a:chExt cx="3720761" cy="642716"/>
          </a:xfrm>
          <a:solidFill>
            <a:srgbClr val="000000"/>
          </a:solidFill>
        </p:grpSpPr>
        <p:sp>
          <p:nvSpPr>
            <p:cNvPr id="26" name="Freihandform: Form 25">
              <a:extLst>
                <a:ext uri="{FF2B5EF4-FFF2-40B4-BE49-F238E27FC236}">
                  <a16:creationId xmlns:a16="http://schemas.microsoft.com/office/drawing/2014/main" id="{6AC0925B-28CE-EA29-731C-C0B118FEC246}"/>
                </a:ext>
              </a:extLst>
            </p:cNvPr>
            <p:cNvSpPr/>
            <p:nvPr/>
          </p:nvSpPr>
          <p:spPr>
            <a:xfrm>
              <a:off x="3042261" y="4495188"/>
              <a:ext cx="450339" cy="638344"/>
            </a:xfrm>
            <a:custGeom>
              <a:avLst/>
              <a:gdLst>
                <a:gd name="connsiteX0" fmla="*/ 262333 w 450339"/>
                <a:gd name="connsiteY0" fmla="*/ 638345 h 638344"/>
                <a:gd name="connsiteX1" fmla="*/ 251403 w 450339"/>
                <a:gd name="connsiteY1" fmla="*/ 638345 h 638344"/>
                <a:gd name="connsiteX2" fmla="*/ 0 w 450339"/>
                <a:gd name="connsiteY2" fmla="*/ 638345 h 638344"/>
                <a:gd name="connsiteX3" fmla="*/ 0 w 450339"/>
                <a:gd name="connsiteY3" fmla="*/ 0 h 638344"/>
                <a:gd name="connsiteX4" fmla="*/ 266706 w 450339"/>
                <a:gd name="connsiteY4" fmla="*/ 0 h 638344"/>
                <a:gd name="connsiteX5" fmla="*/ 450339 w 450339"/>
                <a:gd name="connsiteY5" fmla="*/ 192378 h 638344"/>
                <a:gd name="connsiteX6" fmla="*/ 450339 w 450339"/>
                <a:gd name="connsiteY6" fmla="*/ 452525 h 638344"/>
                <a:gd name="connsiteX7" fmla="*/ 393500 w 450339"/>
                <a:gd name="connsiteY7" fmla="*/ 598995 h 638344"/>
                <a:gd name="connsiteX8" fmla="*/ 262333 w 450339"/>
                <a:gd name="connsiteY8" fmla="*/ 638345 h 638344"/>
                <a:gd name="connsiteX9" fmla="*/ 137725 w 450339"/>
                <a:gd name="connsiteY9" fmla="*/ 500620 h 638344"/>
                <a:gd name="connsiteX10" fmla="*/ 257961 w 450339"/>
                <a:gd name="connsiteY10" fmla="*/ 500620 h 638344"/>
                <a:gd name="connsiteX11" fmla="*/ 319172 w 450339"/>
                <a:gd name="connsiteY11" fmla="*/ 445967 h 638344"/>
                <a:gd name="connsiteX12" fmla="*/ 319172 w 450339"/>
                <a:gd name="connsiteY12" fmla="*/ 196750 h 638344"/>
                <a:gd name="connsiteX13" fmla="*/ 255775 w 450339"/>
                <a:gd name="connsiteY13" fmla="*/ 135539 h 638344"/>
                <a:gd name="connsiteX14" fmla="*/ 135539 w 450339"/>
                <a:gd name="connsiteY14" fmla="*/ 135539 h 638344"/>
                <a:gd name="connsiteX15" fmla="*/ 135539 w 450339"/>
                <a:gd name="connsiteY15" fmla="*/ 500620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339" h="638344">
                  <a:moveTo>
                    <a:pt x="262333" y="638345"/>
                  </a:moveTo>
                  <a:cubicBezTo>
                    <a:pt x="257961" y="638345"/>
                    <a:pt x="255775" y="638345"/>
                    <a:pt x="251403" y="638345"/>
                  </a:cubicBezTo>
                  <a:lnTo>
                    <a:pt x="0" y="638345"/>
                  </a:lnTo>
                  <a:lnTo>
                    <a:pt x="0" y="0"/>
                  </a:lnTo>
                  <a:lnTo>
                    <a:pt x="266706" y="0"/>
                  </a:lnTo>
                  <a:cubicBezTo>
                    <a:pt x="391314" y="0"/>
                    <a:pt x="450339" y="61211"/>
                    <a:pt x="450339" y="192378"/>
                  </a:cubicBezTo>
                  <a:lnTo>
                    <a:pt x="450339" y="452525"/>
                  </a:lnTo>
                  <a:cubicBezTo>
                    <a:pt x="450339" y="518108"/>
                    <a:pt x="430664" y="566203"/>
                    <a:pt x="393500" y="598995"/>
                  </a:cubicBezTo>
                  <a:cubicBezTo>
                    <a:pt x="362895" y="625228"/>
                    <a:pt x="319172" y="638345"/>
                    <a:pt x="262333" y="638345"/>
                  </a:cubicBezTo>
                  <a:close/>
                  <a:moveTo>
                    <a:pt x="137725" y="500620"/>
                  </a:moveTo>
                  <a:lnTo>
                    <a:pt x="257961" y="500620"/>
                  </a:lnTo>
                  <a:cubicBezTo>
                    <a:pt x="288567" y="500620"/>
                    <a:pt x="314800" y="478758"/>
                    <a:pt x="319172" y="445967"/>
                  </a:cubicBezTo>
                  <a:lnTo>
                    <a:pt x="319172" y="196750"/>
                  </a:lnTo>
                  <a:cubicBezTo>
                    <a:pt x="319172" y="163958"/>
                    <a:pt x="290753" y="135539"/>
                    <a:pt x="255775" y="135539"/>
                  </a:cubicBezTo>
                  <a:lnTo>
                    <a:pt x="135539" y="135539"/>
                  </a:lnTo>
                  <a:lnTo>
                    <a:pt x="135539" y="500620"/>
                  </a:lnTo>
                  <a:close/>
                </a:path>
              </a:pathLst>
            </a:custGeom>
            <a:solidFill>
              <a:srgbClr val="000000"/>
            </a:solidFill>
            <a:ln w="21819" cap="flat">
              <a:noFill/>
              <a:prstDash val="solid"/>
              <a:miter/>
            </a:ln>
          </p:spPr>
          <p:txBody>
            <a:bodyPr rtlCol="0" anchor="ctr"/>
            <a:lstStyle/>
            <a:p>
              <a:endParaRPr lang="de-DE"/>
            </a:p>
          </p:txBody>
        </p:sp>
        <p:sp>
          <p:nvSpPr>
            <p:cNvPr id="27" name="Freihandform: Form 26">
              <a:extLst>
                <a:ext uri="{FF2B5EF4-FFF2-40B4-BE49-F238E27FC236}">
                  <a16:creationId xmlns:a16="http://schemas.microsoft.com/office/drawing/2014/main" id="{B8EAEE7B-80B6-D6A9-D6D1-3F8A52E28F73}"/>
                </a:ext>
              </a:extLst>
            </p:cNvPr>
            <p:cNvSpPr/>
            <p:nvPr/>
          </p:nvSpPr>
          <p:spPr>
            <a:xfrm>
              <a:off x="3612836" y="4495188"/>
              <a:ext cx="461269" cy="638344"/>
            </a:xfrm>
            <a:custGeom>
              <a:avLst/>
              <a:gdLst>
                <a:gd name="connsiteX0" fmla="*/ 461269 w 461269"/>
                <a:gd name="connsiteY0" fmla="*/ 638345 h 638344"/>
                <a:gd name="connsiteX1" fmla="*/ 323544 w 461269"/>
                <a:gd name="connsiteY1" fmla="*/ 638345 h 638344"/>
                <a:gd name="connsiteX2" fmla="*/ 323544 w 461269"/>
                <a:gd name="connsiteY2" fmla="*/ 487503 h 638344"/>
                <a:gd name="connsiteX3" fmla="*/ 137725 w 461269"/>
                <a:gd name="connsiteY3" fmla="*/ 487503 h 638344"/>
                <a:gd name="connsiteX4" fmla="*/ 137725 w 461269"/>
                <a:gd name="connsiteY4" fmla="*/ 638345 h 638344"/>
                <a:gd name="connsiteX5" fmla="*/ 0 w 461269"/>
                <a:gd name="connsiteY5" fmla="*/ 638345 h 638344"/>
                <a:gd name="connsiteX6" fmla="*/ 0 w 461269"/>
                <a:gd name="connsiteY6" fmla="*/ 188006 h 638344"/>
                <a:gd name="connsiteX7" fmla="*/ 190192 w 461269"/>
                <a:gd name="connsiteY7" fmla="*/ 0 h 638344"/>
                <a:gd name="connsiteX8" fmla="*/ 268892 w 461269"/>
                <a:gd name="connsiteY8" fmla="*/ 0 h 638344"/>
                <a:gd name="connsiteX9" fmla="*/ 461269 w 461269"/>
                <a:gd name="connsiteY9" fmla="*/ 192378 h 638344"/>
                <a:gd name="connsiteX10" fmla="*/ 461269 w 461269"/>
                <a:gd name="connsiteY10" fmla="*/ 638345 h 638344"/>
                <a:gd name="connsiteX11" fmla="*/ 137725 w 461269"/>
                <a:gd name="connsiteY11" fmla="*/ 351964 h 638344"/>
                <a:gd name="connsiteX12" fmla="*/ 323544 w 461269"/>
                <a:gd name="connsiteY12" fmla="*/ 351964 h 638344"/>
                <a:gd name="connsiteX13" fmla="*/ 323544 w 461269"/>
                <a:gd name="connsiteY13" fmla="*/ 201122 h 638344"/>
                <a:gd name="connsiteX14" fmla="*/ 262333 w 461269"/>
                <a:gd name="connsiteY14" fmla="*/ 135539 h 638344"/>
                <a:gd name="connsiteX15" fmla="*/ 198936 w 461269"/>
                <a:gd name="connsiteY15" fmla="*/ 135539 h 638344"/>
                <a:gd name="connsiteX16" fmla="*/ 137725 w 461269"/>
                <a:gd name="connsiteY16" fmla="*/ 194564 h 638344"/>
                <a:gd name="connsiteX17" fmla="*/ 137725 w 461269"/>
                <a:gd name="connsiteY17" fmla="*/ 351964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61269" h="638344">
                  <a:moveTo>
                    <a:pt x="461269" y="638345"/>
                  </a:moveTo>
                  <a:lnTo>
                    <a:pt x="323544" y="638345"/>
                  </a:lnTo>
                  <a:lnTo>
                    <a:pt x="323544" y="487503"/>
                  </a:lnTo>
                  <a:lnTo>
                    <a:pt x="137725" y="487503"/>
                  </a:lnTo>
                  <a:lnTo>
                    <a:pt x="137725" y="638345"/>
                  </a:lnTo>
                  <a:lnTo>
                    <a:pt x="0" y="638345"/>
                  </a:lnTo>
                  <a:lnTo>
                    <a:pt x="0" y="188006"/>
                  </a:lnTo>
                  <a:cubicBezTo>
                    <a:pt x="0" y="61211"/>
                    <a:pt x="63397" y="0"/>
                    <a:pt x="190192" y="0"/>
                  </a:cubicBezTo>
                  <a:lnTo>
                    <a:pt x="268892" y="0"/>
                  </a:lnTo>
                  <a:cubicBezTo>
                    <a:pt x="397872" y="0"/>
                    <a:pt x="461269" y="63397"/>
                    <a:pt x="461269" y="192378"/>
                  </a:cubicBezTo>
                  <a:lnTo>
                    <a:pt x="461269" y="638345"/>
                  </a:lnTo>
                  <a:close/>
                  <a:moveTo>
                    <a:pt x="137725" y="351964"/>
                  </a:moveTo>
                  <a:lnTo>
                    <a:pt x="323544" y="351964"/>
                  </a:lnTo>
                  <a:lnTo>
                    <a:pt x="323544" y="201122"/>
                  </a:lnTo>
                  <a:cubicBezTo>
                    <a:pt x="323544" y="163958"/>
                    <a:pt x="295125" y="135539"/>
                    <a:pt x="262333" y="135539"/>
                  </a:cubicBezTo>
                  <a:lnTo>
                    <a:pt x="198936" y="135539"/>
                  </a:lnTo>
                  <a:cubicBezTo>
                    <a:pt x="163958" y="135539"/>
                    <a:pt x="137725" y="161772"/>
                    <a:pt x="137725" y="194564"/>
                  </a:cubicBezTo>
                  <a:lnTo>
                    <a:pt x="137725" y="351964"/>
                  </a:lnTo>
                  <a:close/>
                </a:path>
              </a:pathLst>
            </a:custGeom>
            <a:solidFill>
              <a:srgbClr val="000000"/>
            </a:solidFill>
            <a:ln w="21819"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E97AFB68-5C03-9A94-09FB-8B26E0904172}"/>
                </a:ext>
              </a:extLst>
            </p:cNvPr>
            <p:cNvSpPr/>
            <p:nvPr/>
          </p:nvSpPr>
          <p:spPr>
            <a:xfrm>
              <a:off x="4205272" y="4495188"/>
              <a:ext cx="327916" cy="638344"/>
            </a:xfrm>
            <a:custGeom>
              <a:avLst/>
              <a:gdLst>
                <a:gd name="connsiteX0" fmla="*/ 327917 w 327916"/>
                <a:gd name="connsiteY0" fmla="*/ 638345 h 638344"/>
                <a:gd name="connsiteX1" fmla="*/ 0 w 327916"/>
                <a:gd name="connsiteY1" fmla="*/ 638345 h 638344"/>
                <a:gd name="connsiteX2" fmla="*/ 0 w 327916"/>
                <a:gd name="connsiteY2" fmla="*/ 0 h 638344"/>
                <a:gd name="connsiteX3" fmla="*/ 137725 w 327916"/>
                <a:gd name="connsiteY3" fmla="*/ 0 h 638344"/>
                <a:gd name="connsiteX4" fmla="*/ 137725 w 327916"/>
                <a:gd name="connsiteY4" fmla="*/ 500620 h 638344"/>
                <a:gd name="connsiteX5" fmla="*/ 327917 w 327916"/>
                <a:gd name="connsiteY5" fmla="*/ 500620 h 638344"/>
                <a:gd name="connsiteX6" fmla="*/ 327917 w 327916"/>
                <a:gd name="connsiteY6" fmla="*/ 638345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916" h="638344">
                  <a:moveTo>
                    <a:pt x="327917" y="638345"/>
                  </a:moveTo>
                  <a:lnTo>
                    <a:pt x="0" y="638345"/>
                  </a:lnTo>
                  <a:lnTo>
                    <a:pt x="0" y="0"/>
                  </a:lnTo>
                  <a:lnTo>
                    <a:pt x="137725" y="0"/>
                  </a:lnTo>
                  <a:lnTo>
                    <a:pt x="137725" y="500620"/>
                  </a:lnTo>
                  <a:lnTo>
                    <a:pt x="327917" y="500620"/>
                  </a:lnTo>
                  <a:lnTo>
                    <a:pt x="327917" y="638345"/>
                  </a:lnTo>
                  <a:close/>
                </a:path>
              </a:pathLst>
            </a:custGeom>
            <a:solidFill>
              <a:srgbClr val="000000"/>
            </a:solidFill>
            <a:ln w="21819"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EC507CE7-DE89-2A8D-5D29-1AD341EB9EDD}"/>
                </a:ext>
              </a:extLst>
            </p:cNvPr>
            <p:cNvSpPr/>
            <p:nvPr/>
          </p:nvSpPr>
          <p:spPr>
            <a:xfrm>
              <a:off x="4627192" y="4495188"/>
              <a:ext cx="327916" cy="638344"/>
            </a:xfrm>
            <a:custGeom>
              <a:avLst/>
              <a:gdLst>
                <a:gd name="connsiteX0" fmla="*/ 325730 w 327916"/>
                <a:gd name="connsiteY0" fmla="*/ 638345 h 638344"/>
                <a:gd name="connsiteX1" fmla="*/ 0 w 327916"/>
                <a:gd name="connsiteY1" fmla="*/ 638345 h 638344"/>
                <a:gd name="connsiteX2" fmla="*/ 0 w 327916"/>
                <a:gd name="connsiteY2" fmla="*/ 0 h 638344"/>
                <a:gd name="connsiteX3" fmla="*/ 137725 w 327916"/>
                <a:gd name="connsiteY3" fmla="*/ 0 h 638344"/>
                <a:gd name="connsiteX4" fmla="*/ 137725 w 327916"/>
                <a:gd name="connsiteY4" fmla="*/ 500620 h 638344"/>
                <a:gd name="connsiteX5" fmla="*/ 327917 w 327916"/>
                <a:gd name="connsiteY5" fmla="*/ 500620 h 638344"/>
                <a:gd name="connsiteX6" fmla="*/ 327917 w 327916"/>
                <a:gd name="connsiteY6" fmla="*/ 638345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916" h="638344">
                  <a:moveTo>
                    <a:pt x="325730" y="638345"/>
                  </a:moveTo>
                  <a:lnTo>
                    <a:pt x="0" y="638345"/>
                  </a:lnTo>
                  <a:lnTo>
                    <a:pt x="0" y="0"/>
                  </a:lnTo>
                  <a:lnTo>
                    <a:pt x="137725" y="0"/>
                  </a:lnTo>
                  <a:lnTo>
                    <a:pt x="137725" y="500620"/>
                  </a:lnTo>
                  <a:lnTo>
                    <a:pt x="327917" y="500620"/>
                  </a:lnTo>
                  <a:lnTo>
                    <a:pt x="327917" y="638345"/>
                  </a:lnTo>
                  <a:close/>
                </a:path>
              </a:pathLst>
            </a:custGeom>
            <a:solidFill>
              <a:srgbClr val="000000"/>
            </a:solidFill>
            <a:ln w="21819" cap="flat">
              <a:noFill/>
              <a:prstDash val="solid"/>
              <a:miter/>
            </a:ln>
          </p:spPr>
          <p:txBody>
            <a:bodyPr rtlCol="0" anchor="ctr"/>
            <a:lstStyle/>
            <a:p>
              <a:endParaRPr lang="de-DE"/>
            </a:p>
          </p:txBody>
        </p:sp>
        <p:sp>
          <p:nvSpPr>
            <p:cNvPr id="30" name="Freihandform: Form 29">
              <a:extLst>
                <a:ext uri="{FF2B5EF4-FFF2-40B4-BE49-F238E27FC236}">
                  <a16:creationId xmlns:a16="http://schemas.microsoft.com/office/drawing/2014/main" id="{89D461FE-5E43-B00E-E8C0-A1978EB493EF}"/>
                </a:ext>
              </a:extLst>
            </p:cNvPr>
            <p:cNvSpPr/>
            <p:nvPr/>
          </p:nvSpPr>
          <p:spPr>
            <a:xfrm>
              <a:off x="5849228" y="4495188"/>
              <a:ext cx="349777" cy="638344"/>
            </a:xfrm>
            <a:custGeom>
              <a:avLst/>
              <a:gdLst>
                <a:gd name="connsiteX0" fmla="*/ 349778 w 349777"/>
                <a:gd name="connsiteY0" fmla="*/ 638345 h 638344"/>
                <a:gd name="connsiteX1" fmla="*/ 0 w 349777"/>
                <a:gd name="connsiteY1" fmla="*/ 638345 h 638344"/>
                <a:gd name="connsiteX2" fmla="*/ 0 w 349777"/>
                <a:gd name="connsiteY2" fmla="*/ 0 h 638344"/>
                <a:gd name="connsiteX3" fmla="*/ 349778 w 349777"/>
                <a:gd name="connsiteY3" fmla="*/ 0 h 638344"/>
                <a:gd name="connsiteX4" fmla="*/ 349778 w 349777"/>
                <a:gd name="connsiteY4" fmla="*/ 137725 h 638344"/>
                <a:gd name="connsiteX5" fmla="*/ 137725 w 349777"/>
                <a:gd name="connsiteY5" fmla="*/ 137725 h 638344"/>
                <a:gd name="connsiteX6" fmla="*/ 137725 w 349777"/>
                <a:gd name="connsiteY6" fmla="*/ 251403 h 638344"/>
                <a:gd name="connsiteX7" fmla="*/ 349778 w 349777"/>
                <a:gd name="connsiteY7" fmla="*/ 251403 h 638344"/>
                <a:gd name="connsiteX8" fmla="*/ 349778 w 349777"/>
                <a:gd name="connsiteY8" fmla="*/ 389128 h 638344"/>
                <a:gd name="connsiteX9" fmla="*/ 137725 w 349777"/>
                <a:gd name="connsiteY9" fmla="*/ 389128 h 638344"/>
                <a:gd name="connsiteX10" fmla="*/ 137725 w 349777"/>
                <a:gd name="connsiteY10" fmla="*/ 500620 h 638344"/>
                <a:gd name="connsiteX11" fmla="*/ 349778 w 349777"/>
                <a:gd name="connsiteY11" fmla="*/ 500620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9777" h="638344">
                  <a:moveTo>
                    <a:pt x="349778" y="638345"/>
                  </a:moveTo>
                  <a:lnTo>
                    <a:pt x="0" y="638345"/>
                  </a:lnTo>
                  <a:lnTo>
                    <a:pt x="0" y="0"/>
                  </a:lnTo>
                  <a:lnTo>
                    <a:pt x="349778" y="0"/>
                  </a:lnTo>
                  <a:lnTo>
                    <a:pt x="349778" y="137725"/>
                  </a:lnTo>
                  <a:lnTo>
                    <a:pt x="137725" y="137725"/>
                  </a:lnTo>
                  <a:lnTo>
                    <a:pt x="137725" y="251403"/>
                  </a:lnTo>
                  <a:lnTo>
                    <a:pt x="349778" y="251403"/>
                  </a:lnTo>
                  <a:lnTo>
                    <a:pt x="349778" y="389128"/>
                  </a:lnTo>
                  <a:lnTo>
                    <a:pt x="137725" y="389128"/>
                  </a:lnTo>
                  <a:lnTo>
                    <a:pt x="137725" y="500620"/>
                  </a:lnTo>
                  <a:lnTo>
                    <a:pt x="349778" y="500620"/>
                  </a:lnTo>
                  <a:close/>
                </a:path>
              </a:pathLst>
            </a:custGeom>
            <a:solidFill>
              <a:srgbClr val="000000"/>
            </a:solidFill>
            <a:ln w="21819" cap="flat">
              <a:noFill/>
              <a:prstDash val="solid"/>
              <a:miter/>
            </a:ln>
          </p:spPr>
          <p:txBody>
            <a:bodyPr rtlCol="0" anchor="ctr"/>
            <a:lstStyle/>
            <a:p>
              <a:endParaRPr lang="de-DE"/>
            </a:p>
          </p:txBody>
        </p:sp>
        <p:sp>
          <p:nvSpPr>
            <p:cNvPr id="31" name="Freihandform: Form 30">
              <a:extLst>
                <a:ext uri="{FF2B5EF4-FFF2-40B4-BE49-F238E27FC236}">
                  <a16:creationId xmlns:a16="http://schemas.microsoft.com/office/drawing/2014/main" id="{ACF5C9E7-77CE-223A-ABAA-AFD3B4FFADB7}"/>
                </a:ext>
              </a:extLst>
            </p:cNvPr>
            <p:cNvSpPr/>
            <p:nvPr/>
          </p:nvSpPr>
          <p:spPr>
            <a:xfrm>
              <a:off x="6321428" y="4495188"/>
              <a:ext cx="441594" cy="638344"/>
            </a:xfrm>
            <a:custGeom>
              <a:avLst/>
              <a:gdLst>
                <a:gd name="connsiteX0" fmla="*/ 439408 w 441594"/>
                <a:gd name="connsiteY0" fmla="*/ 450339 h 638344"/>
                <a:gd name="connsiteX1" fmla="*/ 391314 w 441594"/>
                <a:gd name="connsiteY1" fmla="*/ 360708 h 638344"/>
                <a:gd name="connsiteX2" fmla="*/ 439408 w 441594"/>
                <a:gd name="connsiteY2" fmla="*/ 273264 h 638344"/>
                <a:gd name="connsiteX3" fmla="*/ 439408 w 441594"/>
                <a:gd name="connsiteY3" fmla="*/ 179261 h 638344"/>
                <a:gd name="connsiteX4" fmla="*/ 266706 w 441594"/>
                <a:gd name="connsiteY4" fmla="*/ 0 h 638344"/>
                <a:gd name="connsiteX5" fmla="*/ 0 w 441594"/>
                <a:gd name="connsiteY5" fmla="*/ 0 h 638344"/>
                <a:gd name="connsiteX6" fmla="*/ 0 w 441594"/>
                <a:gd name="connsiteY6" fmla="*/ 638345 h 638344"/>
                <a:gd name="connsiteX7" fmla="*/ 137725 w 441594"/>
                <a:gd name="connsiteY7" fmla="*/ 638345 h 638344"/>
                <a:gd name="connsiteX8" fmla="*/ 137725 w 441594"/>
                <a:gd name="connsiteY8" fmla="*/ 435036 h 638344"/>
                <a:gd name="connsiteX9" fmla="*/ 251403 w 441594"/>
                <a:gd name="connsiteY9" fmla="*/ 435036 h 638344"/>
                <a:gd name="connsiteX10" fmla="*/ 314800 w 441594"/>
                <a:gd name="connsiteY10" fmla="*/ 500620 h 638344"/>
                <a:gd name="connsiteX11" fmla="*/ 314800 w 441594"/>
                <a:gd name="connsiteY11" fmla="*/ 638345 h 638344"/>
                <a:gd name="connsiteX12" fmla="*/ 441594 w 441594"/>
                <a:gd name="connsiteY12" fmla="*/ 638345 h 638344"/>
                <a:gd name="connsiteX13" fmla="*/ 439408 w 441594"/>
                <a:gd name="connsiteY13" fmla="*/ 450339 h 638344"/>
                <a:gd name="connsiteX14" fmla="*/ 312614 w 441594"/>
                <a:gd name="connsiteY14" fmla="*/ 244844 h 638344"/>
                <a:gd name="connsiteX15" fmla="*/ 251403 w 441594"/>
                <a:gd name="connsiteY15" fmla="*/ 306056 h 638344"/>
                <a:gd name="connsiteX16" fmla="*/ 137725 w 441594"/>
                <a:gd name="connsiteY16" fmla="*/ 306056 h 638344"/>
                <a:gd name="connsiteX17" fmla="*/ 137725 w 441594"/>
                <a:gd name="connsiteY17" fmla="*/ 135539 h 638344"/>
                <a:gd name="connsiteX18" fmla="*/ 251403 w 441594"/>
                <a:gd name="connsiteY18" fmla="*/ 135539 h 638344"/>
                <a:gd name="connsiteX19" fmla="*/ 314800 w 441594"/>
                <a:gd name="connsiteY19" fmla="*/ 196750 h 638344"/>
                <a:gd name="connsiteX20" fmla="*/ 314800 w 441594"/>
                <a:gd name="connsiteY20" fmla="*/ 244844 h 63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41594" h="638344">
                  <a:moveTo>
                    <a:pt x="439408" y="450339"/>
                  </a:moveTo>
                  <a:cubicBezTo>
                    <a:pt x="439408" y="395686"/>
                    <a:pt x="406617" y="369453"/>
                    <a:pt x="391314" y="360708"/>
                  </a:cubicBezTo>
                  <a:cubicBezTo>
                    <a:pt x="408803" y="349778"/>
                    <a:pt x="439408" y="323545"/>
                    <a:pt x="439408" y="273264"/>
                  </a:cubicBezTo>
                  <a:cubicBezTo>
                    <a:pt x="439408" y="238286"/>
                    <a:pt x="439408" y="179261"/>
                    <a:pt x="439408" y="179261"/>
                  </a:cubicBezTo>
                  <a:cubicBezTo>
                    <a:pt x="439408" y="26233"/>
                    <a:pt x="384755" y="0"/>
                    <a:pt x="266706" y="0"/>
                  </a:cubicBezTo>
                  <a:lnTo>
                    <a:pt x="0" y="0"/>
                  </a:lnTo>
                  <a:lnTo>
                    <a:pt x="0" y="638345"/>
                  </a:lnTo>
                  <a:lnTo>
                    <a:pt x="137725" y="638345"/>
                  </a:lnTo>
                  <a:lnTo>
                    <a:pt x="137725" y="435036"/>
                  </a:lnTo>
                  <a:lnTo>
                    <a:pt x="251403" y="435036"/>
                  </a:lnTo>
                  <a:cubicBezTo>
                    <a:pt x="301683" y="435036"/>
                    <a:pt x="314800" y="459083"/>
                    <a:pt x="314800" y="500620"/>
                  </a:cubicBezTo>
                  <a:lnTo>
                    <a:pt x="314800" y="638345"/>
                  </a:lnTo>
                  <a:lnTo>
                    <a:pt x="441594" y="638345"/>
                  </a:lnTo>
                  <a:lnTo>
                    <a:pt x="439408" y="450339"/>
                  </a:lnTo>
                  <a:close/>
                  <a:moveTo>
                    <a:pt x="312614" y="244844"/>
                  </a:moveTo>
                  <a:cubicBezTo>
                    <a:pt x="312614" y="277636"/>
                    <a:pt x="284195" y="306056"/>
                    <a:pt x="251403" y="306056"/>
                  </a:cubicBezTo>
                  <a:lnTo>
                    <a:pt x="137725" y="306056"/>
                  </a:lnTo>
                  <a:lnTo>
                    <a:pt x="137725" y="135539"/>
                  </a:lnTo>
                  <a:lnTo>
                    <a:pt x="251403" y="135539"/>
                  </a:lnTo>
                  <a:cubicBezTo>
                    <a:pt x="290753" y="135539"/>
                    <a:pt x="314800" y="166144"/>
                    <a:pt x="314800" y="196750"/>
                  </a:cubicBezTo>
                  <a:lnTo>
                    <a:pt x="314800" y="244844"/>
                  </a:lnTo>
                  <a:close/>
                </a:path>
              </a:pathLst>
            </a:custGeom>
            <a:solidFill>
              <a:srgbClr val="000000"/>
            </a:solidFill>
            <a:ln w="21819" cap="flat">
              <a:noFill/>
              <a:prstDash val="solid"/>
              <a:miter/>
            </a:ln>
          </p:spPr>
          <p:txBody>
            <a:bodyPr rtlCol="0" anchor="ctr"/>
            <a:lstStyle/>
            <a:p>
              <a:endParaRPr lang="de-DE"/>
            </a:p>
          </p:txBody>
        </p:sp>
        <p:sp>
          <p:nvSpPr>
            <p:cNvPr id="32" name="Freihandform: Form 31">
              <a:extLst>
                <a:ext uri="{FF2B5EF4-FFF2-40B4-BE49-F238E27FC236}">
                  <a16:creationId xmlns:a16="http://schemas.microsoft.com/office/drawing/2014/main" id="{66EDD426-97E7-1CE8-38E4-0C02D9614F24}"/>
                </a:ext>
              </a:extLst>
            </p:cNvPr>
            <p:cNvSpPr/>
            <p:nvPr/>
          </p:nvSpPr>
          <p:spPr>
            <a:xfrm>
              <a:off x="5055670" y="4495188"/>
              <a:ext cx="675508" cy="642716"/>
            </a:xfrm>
            <a:custGeom>
              <a:avLst/>
              <a:gdLst>
                <a:gd name="connsiteX0" fmla="*/ 489689 w 675508"/>
                <a:gd name="connsiteY0" fmla="*/ 0 h 642716"/>
                <a:gd name="connsiteX1" fmla="*/ 424106 w 675508"/>
                <a:gd name="connsiteY1" fmla="*/ 0 h 642716"/>
                <a:gd name="connsiteX2" fmla="*/ 334475 w 675508"/>
                <a:gd name="connsiteY2" fmla="*/ 48094 h 642716"/>
                <a:gd name="connsiteX3" fmla="*/ 247031 w 675508"/>
                <a:gd name="connsiteY3" fmla="*/ 0 h 642716"/>
                <a:gd name="connsiteX4" fmla="*/ 181447 w 675508"/>
                <a:gd name="connsiteY4" fmla="*/ 0 h 642716"/>
                <a:gd name="connsiteX5" fmla="*/ 0 w 675508"/>
                <a:gd name="connsiteY5" fmla="*/ 192378 h 642716"/>
                <a:gd name="connsiteX6" fmla="*/ 0 w 675508"/>
                <a:gd name="connsiteY6" fmla="*/ 640531 h 642716"/>
                <a:gd name="connsiteX7" fmla="*/ 135539 w 675508"/>
                <a:gd name="connsiteY7" fmla="*/ 640531 h 642716"/>
                <a:gd name="connsiteX8" fmla="*/ 135539 w 675508"/>
                <a:gd name="connsiteY8" fmla="*/ 177075 h 642716"/>
                <a:gd name="connsiteX9" fmla="*/ 139911 w 675508"/>
                <a:gd name="connsiteY9" fmla="*/ 155214 h 642716"/>
                <a:gd name="connsiteX10" fmla="*/ 155214 w 675508"/>
                <a:gd name="connsiteY10" fmla="*/ 150842 h 642716"/>
                <a:gd name="connsiteX11" fmla="*/ 249217 w 675508"/>
                <a:gd name="connsiteY11" fmla="*/ 150842 h 642716"/>
                <a:gd name="connsiteX12" fmla="*/ 264519 w 675508"/>
                <a:gd name="connsiteY12" fmla="*/ 155214 h 642716"/>
                <a:gd name="connsiteX13" fmla="*/ 268892 w 675508"/>
                <a:gd name="connsiteY13" fmla="*/ 179261 h 642716"/>
                <a:gd name="connsiteX14" fmla="*/ 268892 w 675508"/>
                <a:gd name="connsiteY14" fmla="*/ 642717 h 642716"/>
                <a:gd name="connsiteX15" fmla="*/ 268892 w 675508"/>
                <a:gd name="connsiteY15" fmla="*/ 642717 h 642716"/>
                <a:gd name="connsiteX16" fmla="*/ 406617 w 675508"/>
                <a:gd name="connsiteY16" fmla="*/ 642717 h 642716"/>
                <a:gd name="connsiteX17" fmla="*/ 406617 w 675508"/>
                <a:gd name="connsiteY17" fmla="*/ 179261 h 642716"/>
                <a:gd name="connsiteX18" fmla="*/ 410989 w 675508"/>
                <a:gd name="connsiteY18" fmla="*/ 155214 h 642716"/>
                <a:gd name="connsiteX19" fmla="*/ 426292 w 675508"/>
                <a:gd name="connsiteY19" fmla="*/ 150842 h 642716"/>
                <a:gd name="connsiteX20" fmla="*/ 520294 w 675508"/>
                <a:gd name="connsiteY20" fmla="*/ 150842 h 642716"/>
                <a:gd name="connsiteX21" fmla="*/ 535597 w 675508"/>
                <a:gd name="connsiteY21" fmla="*/ 155214 h 642716"/>
                <a:gd name="connsiteX22" fmla="*/ 539970 w 675508"/>
                <a:gd name="connsiteY22" fmla="*/ 177075 h 642716"/>
                <a:gd name="connsiteX23" fmla="*/ 539970 w 675508"/>
                <a:gd name="connsiteY23" fmla="*/ 640531 h 642716"/>
                <a:gd name="connsiteX24" fmla="*/ 675509 w 675508"/>
                <a:gd name="connsiteY24" fmla="*/ 640531 h 642716"/>
                <a:gd name="connsiteX25" fmla="*/ 675509 w 675508"/>
                <a:gd name="connsiteY25" fmla="*/ 192378 h 642716"/>
                <a:gd name="connsiteX26" fmla="*/ 489689 w 675508"/>
                <a:gd name="connsiteY26" fmla="*/ 0 h 642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5508" h="642716">
                  <a:moveTo>
                    <a:pt x="489689" y="0"/>
                  </a:moveTo>
                  <a:lnTo>
                    <a:pt x="424106" y="0"/>
                  </a:lnTo>
                  <a:cubicBezTo>
                    <a:pt x="369453" y="0"/>
                    <a:pt x="343220" y="32792"/>
                    <a:pt x="334475" y="48094"/>
                  </a:cubicBezTo>
                  <a:cubicBezTo>
                    <a:pt x="323544" y="30606"/>
                    <a:pt x="297311" y="0"/>
                    <a:pt x="247031" y="0"/>
                  </a:cubicBezTo>
                  <a:lnTo>
                    <a:pt x="181447" y="0"/>
                  </a:lnTo>
                  <a:cubicBezTo>
                    <a:pt x="43722" y="0"/>
                    <a:pt x="0" y="26233"/>
                    <a:pt x="0" y="192378"/>
                  </a:cubicBezTo>
                  <a:lnTo>
                    <a:pt x="0" y="640531"/>
                  </a:lnTo>
                  <a:lnTo>
                    <a:pt x="135539" y="640531"/>
                  </a:lnTo>
                  <a:lnTo>
                    <a:pt x="135539" y="177075"/>
                  </a:lnTo>
                  <a:cubicBezTo>
                    <a:pt x="135539" y="163958"/>
                    <a:pt x="135539" y="157400"/>
                    <a:pt x="139911" y="155214"/>
                  </a:cubicBezTo>
                  <a:cubicBezTo>
                    <a:pt x="142097" y="153028"/>
                    <a:pt x="148655" y="150842"/>
                    <a:pt x="155214" y="150842"/>
                  </a:cubicBezTo>
                  <a:lnTo>
                    <a:pt x="249217" y="150842"/>
                  </a:lnTo>
                  <a:cubicBezTo>
                    <a:pt x="255775" y="150842"/>
                    <a:pt x="260147" y="150842"/>
                    <a:pt x="264519" y="155214"/>
                  </a:cubicBezTo>
                  <a:cubicBezTo>
                    <a:pt x="268892" y="159586"/>
                    <a:pt x="268892" y="163958"/>
                    <a:pt x="268892" y="179261"/>
                  </a:cubicBezTo>
                  <a:lnTo>
                    <a:pt x="268892" y="642717"/>
                  </a:lnTo>
                  <a:lnTo>
                    <a:pt x="268892" y="642717"/>
                  </a:lnTo>
                  <a:lnTo>
                    <a:pt x="406617" y="642717"/>
                  </a:lnTo>
                  <a:lnTo>
                    <a:pt x="406617" y="179261"/>
                  </a:lnTo>
                  <a:cubicBezTo>
                    <a:pt x="406617" y="166144"/>
                    <a:pt x="406617" y="159586"/>
                    <a:pt x="410989" y="155214"/>
                  </a:cubicBezTo>
                  <a:cubicBezTo>
                    <a:pt x="413175" y="153028"/>
                    <a:pt x="419734" y="150842"/>
                    <a:pt x="426292" y="150842"/>
                  </a:cubicBezTo>
                  <a:lnTo>
                    <a:pt x="520294" y="150842"/>
                  </a:lnTo>
                  <a:cubicBezTo>
                    <a:pt x="526853" y="150842"/>
                    <a:pt x="533411" y="150842"/>
                    <a:pt x="535597" y="155214"/>
                  </a:cubicBezTo>
                  <a:cubicBezTo>
                    <a:pt x="539970" y="159586"/>
                    <a:pt x="539970" y="163958"/>
                    <a:pt x="539970" y="177075"/>
                  </a:cubicBezTo>
                  <a:lnTo>
                    <a:pt x="539970" y="640531"/>
                  </a:lnTo>
                  <a:lnTo>
                    <a:pt x="675509" y="640531"/>
                  </a:lnTo>
                  <a:lnTo>
                    <a:pt x="675509" y="192378"/>
                  </a:lnTo>
                  <a:cubicBezTo>
                    <a:pt x="671136" y="26233"/>
                    <a:pt x="627414" y="0"/>
                    <a:pt x="489689" y="0"/>
                  </a:cubicBezTo>
                  <a:close/>
                </a:path>
              </a:pathLst>
            </a:custGeom>
            <a:solidFill>
              <a:srgbClr val="000000"/>
            </a:solidFill>
            <a:ln w="21819" cap="flat">
              <a:noFill/>
              <a:prstDash val="solid"/>
              <a:miter/>
            </a:ln>
          </p:spPr>
          <p:txBody>
            <a:bodyPr rtlCol="0" anchor="ctr"/>
            <a:lstStyle/>
            <a:p>
              <a:endParaRPr lang="de-DE"/>
            </a:p>
          </p:txBody>
        </p:sp>
      </p:grpSp>
    </p:spTree>
    <p:extLst>
      <p:ext uri="{BB962C8B-B14F-4D97-AF65-F5344CB8AC3E}">
        <p14:creationId xmlns:p14="http://schemas.microsoft.com/office/powerpoint/2010/main" val="519427573"/>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60" r:id="rId3"/>
    <p:sldLayoutId id="2147483661" r:id="rId4"/>
    <p:sldLayoutId id="2147483650" r:id="rId5"/>
    <p:sldLayoutId id="2147483654" r:id="rId6"/>
    <p:sldLayoutId id="2147483659" r:id="rId7"/>
    <p:sldLayoutId id="2147483664" r:id="rId8"/>
    <p:sldLayoutId id="2147483669" r:id="rId9"/>
    <p:sldLayoutId id="2147483670" r:id="rId10"/>
    <p:sldLayoutId id="2147483662" r:id="rId11"/>
    <p:sldLayoutId id="2147483666" r:id="rId12"/>
    <p:sldLayoutId id="2147483655" r:id="rId13"/>
    <p:sldLayoutId id="2147483665" r:id="rId14"/>
    <p:sldLayoutId id="2147483667" r:id="rId15"/>
  </p:sldLayoutIdLst>
  <p:hf hdr="0" dt="0"/>
  <p:txStyles>
    <p:titleStyle>
      <a:lvl1pPr algn="l" defTabSz="914400" rtl="0" eaLnBrk="1" latinLnBrk="0" hangingPunct="1">
        <a:lnSpc>
          <a:spcPct val="90000"/>
        </a:lnSpc>
        <a:spcBef>
          <a:spcPct val="0"/>
        </a:spcBef>
        <a:buNone/>
        <a:defRPr sz="3000" b="1" kern="1200">
          <a:solidFill>
            <a:schemeClr val="tx1"/>
          </a:solidFill>
          <a:latin typeface="+mn-lt"/>
          <a:ea typeface="+mj-ea"/>
          <a:cs typeface="+mj-cs"/>
        </a:defRPr>
      </a:lvl1pPr>
    </p:titleStyle>
    <p:bodyStyle>
      <a:lvl1pPr marL="270000" indent="-270000" algn="l" defTabSz="914400" rtl="0" eaLnBrk="1" latinLnBrk="0" hangingPunct="1">
        <a:lnSpc>
          <a:spcPct val="100000"/>
        </a:lnSpc>
        <a:spcBef>
          <a:spcPts val="1200"/>
        </a:spcBef>
        <a:buFont typeface="Symbol" panose="05050102010706020507" pitchFamily="18" charset="2"/>
        <a:buChar char="-"/>
        <a:defRPr sz="2000" kern="1200">
          <a:solidFill>
            <a:schemeClr val="tx1"/>
          </a:solidFill>
          <a:latin typeface="+mn-lt"/>
          <a:ea typeface="+mn-ea"/>
          <a:cs typeface="+mn-cs"/>
        </a:defRPr>
      </a:lvl1pPr>
      <a:lvl2pPr marL="540000" indent="-270000" algn="l" defTabSz="914400" rtl="0" eaLnBrk="1" latinLnBrk="0" hangingPunct="1">
        <a:lnSpc>
          <a:spcPct val="100000"/>
        </a:lnSpc>
        <a:spcBef>
          <a:spcPts val="600"/>
        </a:spcBef>
        <a:spcAft>
          <a:spcPts val="600"/>
        </a:spcAft>
        <a:buFont typeface="Symbol" panose="05050102010706020507" pitchFamily="18" charset="2"/>
        <a:buChar char="-"/>
        <a:defRPr sz="2000" kern="1200">
          <a:solidFill>
            <a:schemeClr val="tx1"/>
          </a:solidFill>
          <a:latin typeface="+mn-lt"/>
          <a:ea typeface="+mn-ea"/>
          <a:cs typeface="+mn-cs"/>
        </a:defRPr>
      </a:lvl2pPr>
      <a:lvl3pPr marL="810000" indent="-270000" algn="l" defTabSz="914400" rtl="0" eaLnBrk="1" latinLnBrk="0" hangingPunct="1">
        <a:lnSpc>
          <a:spcPct val="100000"/>
        </a:lnSpc>
        <a:spcBef>
          <a:spcPts val="300"/>
        </a:spcBef>
        <a:spcAft>
          <a:spcPts val="300"/>
        </a:spcAft>
        <a:buFont typeface="Symbol" panose="05050102010706020507" pitchFamily="18" charset="2"/>
        <a:buChar char="-"/>
        <a:defRPr sz="2000" kern="1200">
          <a:solidFill>
            <a:schemeClr val="tx1"/>
          </a:solidFill>
          <a:latin typeface="+mn-lt"/>
          <a:ea typeface="+mn-ea"/>
          <a:cs typeface="+mn-cs"/>
        </a:defRPr>
      </a:lvl3pPr>
      <a:lvl4pPr marL="1080000" indent="-270000" algn="l" defTabSz="914400" rtl="0" eaLnBrk="1" latinLnBrk="0" hangingPunct="1">
        <a:lnSpc>
          <a:spcPct val="100000"/>
        </a:lnSpc>
        <a:spcBef>
          <a:spcPts val="100"/>
        </a:spcBef>
        <a:spcAft>
          <a:spcPts val="100"/>
        </a:spcAft>
        <a:buFont typeface="Symbol" panose="05050102010706020507" pitchFamily="18" charset="2"/>
        <a:buChar char="-"/>
        <a:defRPr sz="2000" kern="1200">
          <a:solidFill>
            <a:schemeClr val="tx1"/>
          </a:solidFill>
          <a:latin typeface="+mn-lt"/>
          <a:ea typeface="+mn-ea"/>
          <a:cs typeface="+mn-cs"/>
        </a:defRPr>
      </a:lvl4pPr>
      <a:lvl5pPr marL="1350000" indent="-270000" algn="l" defTabSz="91440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5" orient="horz" pos="1298" userDrawn="1">
          <p15:clr>
            <a:srgbClr val="F26B43"/>
          </p15:clr>
        </p15:guide>
        <p15:guide id="6" orient="horz" pos="3906" userDrawn="1">
          <p15:clr>
            <a:srgbClr val="F26B43"/>
          </p15:clr>
        </p15:guide>
        <p15:guide id="7" pos="3840" userDrawn="1">
          <p15:clr>
            <a:srgbClr val="F26B43"/>
          </p15:clr>
        </p15:guide>
        <p15:guide id="8" orient="horz" pos="259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image" Target="../media/image12.jpeg"/><Relationship Id="rId7" Type="http://schemas.openxmlformats.org/officeDocument/2006/relationships/image" Target="../media/image16.jpeg"/><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image" Target="../media/image1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1E34207-69F1-489C-87F0-09C70A9A1203}"/>
              </a:ext>
            </a:extLst>
          </p:cNvPr>
          <p:cNvSpPr>
            <a:spLocks noGrp="1"/>
          </p:cNvSpPr>
          <p:nvPr>
            <p:ph type="ctrTitle"/>
          </p:nvPr>
        </p:nvSpPr>
        <p:spPr>
          <a:xfrm>
            <a:off x="407990" y="335563"/>
            <a:ext cx="5328009" cy="484748"/>
          </a:xfrm>
        </p:spPr>
        <p:txBody>
          <a:bodyPr/>
          <a:lstStyle/>
          <a:p>
            <a:r>
              <a:rPr lang="de-DE" dirty="0"/>
              <a:t>Company </a:t>
            </a:r>
            <a:r>
              <a:rPr lang="de-DE" dirty="0" err="1"/>
              <a:t>presentation</a:t>
            </a:r>
            <a:endParaRPr lang="de-DE" dirty="0"/>
          </a:p>
        </p:txBody>
      </p:sp>
      <p:sp>
        <p:nvSpPr>
          <p:cNvPr id="3" name="Untertitel 2">
            <a:extLst>
              <a:ext uri="{FF2B5EF4-FFF2-40B4-BE49-F238E27FC236}">
                <a16:creationId xmlns:a16="http://schemas.microsoft.com/office/drawing/2014/main" id="{B7B36937-2A10-4EB8-A770-3482F6102217}"/>
              </a:ext>
            </a:extLst>
          </p:cNvPr>
          <p:cNvSpPr>
            <a:spLocks noGrp="1"/>
          </p:cNvSpPr>
          <p:nvPr>
            <p:ph type="subTitle" idx="1"/>
          </p:nvPr>
        </p:nvSpPr>
        <p:spPr/>
        <p:txBody>
          <a:bodyPr/>
          <a:lstStyle/>
          <a:p>
            <a:endParaRPr lang="de-DE"/>
          </a:p>
        </p:txBody>
      </p:sp>
      <p:pic>
        <p:nvPicPr>
          <p:cNvPr id="6" name="Bildplatzhalter 5">
            <a:extLst>
              <a:ext uri="{FF2B5EF4-FFF2-40B4-BE49-F238E27FC236}">
                <a16:creationId xmlns:a16="http://schemas.microsoft.com/office/drawing/2014/main" id="{B2D81ECB-E768-4383-ACC2-8A96F9ADE13F}"/>
              </a:ext>
            </a:extLst>
          </p:cNvPr>
          <p:cNvPicPr>
            <a:picLocks noGrp="1" noChangeAspect="1"/>
          </p:cNvPicPr>
          <p:nvPr>
            <p:ph type="pic" sz="quarter" idx="14"/>
          </p:nvPr>
        </p:nvPicPr>
        <p:blipFill>
          <a:blip r:embed="rId2"/>
          <a:srcRect t="12225" b="12225"/>
          <a:stretch>
            <a:fillRect/>
          </a:stretch>
        </p:blipFill>
        <p:spPr/>
      </p:pic>
    </p:spTree>
    <p:extLst>
      <p:ext uri="{BB962C8B-B14F-4D97-AF65-F5344CB8AC3E}">
        <p14:creationId xmlns:p14="http://schemas.microsoft.com/office/powerpoint/2010/main" val="23559096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8" descr="Ein Bild, das Wolke, Himmel, Architektur, draußen enthält.&#10;&#10;Automatisch generierte Beschreibung">
            <a:extLst>
              <a:ext uri="{FF2B5EF4-FFF2-40B4-BE49-F238E27FC236}">
                <a16:creationId xmlns:a16="http://schemas.microsoft.com/office/drawing/2014/main" id="{186EC40A-BD26-9FCF-B7D8-E539E45D0FC6}"/>
              </a:ext>
            </a:extLst>
          </p:cNvPr>
          <p:cNvPicPr>
            <a:picLocks noGrp="1" noChangeAspect="1"/>
          </p:cNvPicPr>
          <p:nvPr>
            <p:ph type="pic" sz="quarter" idx="14"/>
          </p:nvPr>
        </p:nvPicPr>
        <p:blipFill rotWithShape="1">
          <a:blip r:embed="rId3" cstate="screen">
            <a:extLst>
              <a:ext uri="{28A0092B-C50C-407E-A947-70E740481C1C}">
                <a14:useLocalDpi xmlns:a14="http://schemas.microsoft.com/office/drawing/2010/main"/>
              </a:ext>
            </a:extLst>
          </a:blip>
          <a:srcRect/>
          <a:stretch/>
        </p:blipFill>
        <p:spPr>
          <a:xfrm>
            <a:off x="0" y="0"/>
            <a:ext cx="6096000" cy="6858000"/>
          </a:xfrm>
        </p:spPr>
      </p:pic>
      <p:sp>
        <p:nvSpPr>
          <p:cNvPr id="3" name="Titel 2">
            <a:extLst>
              <a:ext uri="{FF2B5EF4-FFF2-40B4-BE49-F238E27FC236}">
                <a16:creationId xmlns:a16="http://schemas.microsoft.com/office/drawing/2014/main" id="{85AF6E1A-34A0-2EA1-28C6-3DF076BB0AB6}"/>
              </a:ext>
            </a:extLst>
          </p:cNvPr>
          <p:cNvSpPr>
            <a:spLocks noGrp="1"/>
          </p:cNvSpPr>
          <p:nvPr>
            <p:ph type="title"/>
          </p:nvPr>
        </p:nvSpPr>
        <p:spPr/>
        <p:txBody>
          <a:bodyPr/>
          <a:lstStyle/>
          <a:p>
            <a:endParaRPr lang="de-DE"/>
          </a:p>
        </p:txBody>
      </p:sp>
      <p:sp>
        <p:nvSpPr>
          <p:cNvPr id="4" name="Inhaltsplatzhalter 3">
            <a:extLst>
              <a:ext uri="{FF2B5EF4-FFF2-40B4-BE49-F238E27FC236}">
                <a16:creationId xmlns:a16="http://schemas.microsoft.com/office/drawing/2014/main" id="{D5BE51D0-57D2-BF54-0543-A26F2862D6B9}"/>
              </a:ext>
            </a:extLst>
          </p:cNvPr>
          <p:cNvSpPr>
            <a:spLocks noGrp="1"/>
          </p:cNvSpPr>
          <p:nvPr>
            <p:ph idx="1"/>
          </p:nvPr>
        </p:nvSpPr>
        <p:spPr/>
        <p:txBody>
          <a:bodyPr/>
          <a:lstStyle/>
          <a:p>
            <a:pPr marL="0" indent="0">
              <a:buNone/>
            </a:pPr>
            <a:r>
              <a:rPr lang="en-US" dirty="0"/>
              <a:t>The </a:t>
            </a:r>
            <a:r>
              <a:rPr lang="en-US" dirty="0" err="1"/>
              <a:t>Dallmer</a:t>
            </a:r>
            <a:r>
              <a:rPr lang="en-US" dirty="0"/>
              <a:t> family business is now in its fourth generation with more than 200 employees. </a:t>
            </a:r>
          </a:p>
          <a:p>
            <a:pPr marL="0" indent="0">
              <a:buNone/>
            </a:pPr>
            <a:r>
              <a:rPr lang="en-US" dirty="0"/>
              <a:t>All </a:t>
            </a:r>
            <a:r>
              <a:rPr lang="en-US" dirty="0" err="1"/>
              <a:t>Dallmer</a:t>
            </a:r>
            <a:r>
              <a:rPr lang="en-US" dirty="0"/>
              <a:t> products are developed, designed and manufactured using state-of-the-art technology in Germany – more specifically, in Arnsberg. </a:t>
            </a:r>
          </a:p>
          <a:p>
            <a:pPr marL="0" indent="0">
              <a:buNone/>
            </a:pPr>
            <a:r>
              <a:rPr lang="en-US" dirty="0"/>
              <a:t>The "Made in Germany" seal of quality applies without reservations. </a:t>
            </a:r>
            <a:endParaRPr lang="de-DE" dirty="0"/>
          </a:p>
        </p:txBody>
      </p:sp>
      <p:sp>
        <p:nvSpPr>
          <p:cNvPr id="5" name="Textplatzhalter 4">
            <a:extLst>
              <a:ext uri="{FF2B5EF4-FFF2-40B4-BE49-F238E27FC236}">
                <a16:creationId xmlns:a16="http://schemas.microsoft.com/office/drawing/2014/main" id="{ADC2B956-ECAF-6894-3930-0AC8071F3D8C}"/>
              </a:ext>
            </a:extLst>
          </p:cNvPr>
          <p:cNvSpPr>
            <a:spLocks noGrp="1"/>
          </p:cNvSpPr>
          <p:nvPr>
            <p:ph type="body" sz="quarter" idx="15"/>
          </p:nvPr>
        </p:nvSpPr>
        <p:spPr/>
        <p:txBody>
          <a:bodyPr/>
          <a:lstStyle/>
          <a:p>
            <a:endParaRPr lang="de-DE"/>
          </a:p>
        </p:txBody>
      </p:sp>
      <p:sp>
        <p:nvSpPr>
          <p:cNvPr id="6" name="Fußzeilenplatzhalter 5">
            <a:extLst>
              <a:ext uri="{FF2B5EF4-FFF2-40B4-BE49-F238E27FC236}">
                <a16:creationId xmlns:a16="http://schemas.microsoft.com/office/drawing/2014/main" id="{2B023E22-23F4-61BB-7659-EB3183E0976B}"/>
              </a:ext>
            </a:extLst>
          </p:cNvPr>
          <p:cNvSpPr>
            <a:spLocks noGrp="1"/>
          </p:cNvSpPr>
          <p:nvPr>
            <p:ph type="ftr" sz="quarter" idx="17"/>
          </p:nvPr>
        </p:nvSpPr>
        <p:spPr/>
        <p:txBody>
          <a:bodyPr/>
          <a:lstStyle/>
          <a:p>
            <a:endParaRPr lang="de-DE" dirty="0"/>
          </a:p>
        </p:txBody>
      </p:sp>
      <p:sp>
        <p:nvSpPr>
          <p:cNvPr id="7" name="Foliennummernplatzhalter 6">
            <a:extLst>
              <a:ext uri="{FF2B5EF4-FFF2-40B4-BE49-F238E27FC236}">
                <a16:creationId xmlns:a16="http://schemas.microsoft.com/office/drawing/2014/main" id="{9A225F18-234C-16F7-D070-86E8429C13F9}"/>
              </a:ext>
            </a:extLst>
          </p:cNvPr>
          <p:cNvSpPr>
            <a:spLocks noGrp="1"/>
          </p:cNvSpPr>
          <p:nvPr>
            <p:ph type="sldNum" sz="quarter" idx="18"/>
          </p:nvPr>
        </p:nvSpPr>
        <p:spPr/>
        <p:txBody>
          <a:bodyPr/>
          <a:lstStyle/>
          <a:p>
            <a:r>
              <a:rPr lang="de-DE"/>
              <a:t>Seite </a:t>
            </a:r>
            <a:fld id="{63A738E5-7FE5-4F0E-80D4-9B95A408A0CB}" type="slidenum">
              <a:rPr lang="de-DE" smtClean="0"/>
              <a:pPr/>
              <a:t>2</a:t>
            </a:fld>
            <a:endParaRPr lang="de-DE" dirty="0"/>
          </a:p>
        </p:txBody>
      </p:sp>
      <p:sp>
        <p:nvSpPr>
          <p:cNvPr id="10" name="Textfeld 9">
            <a:extLst>
              <a:ext uri="{FF2B5EF4-FFF2-40B4-BE49-F238E27FC236}">
                <a16:creationId xmlns:a16="http://schemas.microsoft.com/office/drawing/2014/main" id="{C3412E96-7624-3C25-A4DA-05C2CF0D5A2E}"/>
              </a:ext>
            </a:extLst>
          </p:cNvPr>
          <p:cNvSpPr txBox="1"/>
          <p:nvPr/>
        </p:nvSpPr>
        <p:spPr>
          <a:xfrm>
            <a:off x="407987" y="404813"/>
            <a:ext cx="1808252" cy="276999"/>
          </a:xfrm>
          <a:prstGeom prst="rect">
            <a:avLst/>
          </a:prstGeom>
          <a:noFill/>
        </p:spPr>
        <p:txBody>
          <a:bodyPr wrap="none" lIns="0" tIns="0" rIns="0" bIns="0" rtlCol="0">
            <a:spAutoFit/>
          </a:bodyPr>
          <a:lstStyle/>
          <a:p>
            <a:r>
              <a:rPr lang="de-DE" dirty="0">
                <a:solidFill>
                  <a:srgbClr val="FFFFFF"/>
                </a:solidFill>
                <a:effectLst/>
              </a:rPr>
              <a:t>Made in Arnsberg</a:t>
            </a:r>
          </a:p>
        </p:txBody>
      </p:sp>
    </p:spTree>
    <p:extLst>
      <p:ext uri="{BB962C8B-B14F-4D97-AF65-F5344CB8AC3E}">
        <p14:creationId xmlns:p14="http://schemas.microsoft.com/office/powerpoint/2010/main" val="2472555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85AF6E1A-34A0-2EA1-28C6-3DF076BB0AB6}"/>
              </a:ext>
            </a:extLst>
          </p:cNvPr>
          <p:cNvSpPr>
            <a:spLocks noGrp="1"/>
          </p:cNvSpPr>
          <p:nvPr>
            <p:ph type="title"/>
          </p:nvPr>
        </p:nvSpPr>
        <p:spPr/>
        <p:txBody>
          <a:bodyPr/>
          <a:lstStyle/>
          <a:p>
            <a:endParaRPr lang="de-DE" dirty="0"/>
          </a:p>
        </p:txBody>
      </p:sp>
      <p:sp>
        <p:nvSpPr>
          <p:cNvPr id="4" name="Inhaltsplatzhalter 3">
            <a:extLst>
              <a:ext uri="{FF2B5EF4-FFF2-40B4-BE49-F238E27FC236}">
                <a16:creationId xmlns:a16="http://schemas.microsoft.com/office/drawing/2014/main" id="{D5BE51D0-57D2-BF54-0543-A26F2862D6B9}"/>
              </a:ext>
            </a:extLst>
          </p:cNvPr>
          <p:cNvSpPr>
            <a:spLocks noGrp="1"/>
          </p:cNvSpPr>
          <p:nvPr>
            <p:ph idx="1"/>
          </p:nvPr>
        </p:nvSpPr>
        <p:spPr/>
        <p:txBody>
          <a:bodyPr/>
          <a:lstStyle/>
          <a:p>
            <a:pPr marL="0" indent="0">
              <a:buNone/>
            </a:pPr>
            <a:r>
              <a:rPr lang="de-DE" dirty="0"/>
              <a:t>„</a:t>
            </a:r>
            <a:r>
              <a:rPr lang="de-DE" dirty="0" err="1"/>
              <a:t>We</a:t>
            </a:r>
            <a:r>
              <a:rPr lang="de-DE" dirty="0"/>
              <a:t> </a:t>
            </a:r>
            <a:r>
              <a:rPr lang="de-DE" dirty="0" err="1"/>
              <a:t>are</a:t>
            </a:r>
            <a:r>
              <a:rPr lang="de-DE" dirty="0"/>
              <a:t> an innovative c</a:t>
            </a:r>
            <a:r>
              <a:rPr lang="en-US" dirty="0" err="1"/>
              <a:t>ompany</a:t>
            </a:r>
            <a:r>
              <a:rPr lang="en-US" dirty="0"/>
              <a:t> – but we're also one big family."</a:t>
            </a:r>
            <a:endParaRPr lang="de-DE" dirty="0"/>
          </a:p>
          <a:p>
            <a:pPr marL="0" indent="0">
              <a:buNone/>
            </a:pPr>
            <a:r>
              <a:rPr lang="de-DE" sz="1400" dirty="0">
                <a:effectLst/>
              </a:rPr>
              <a:t>Harry Bauermeister, Managing </a:t>
            </a:r>
            <a:r>
              <a:rPr lang="de-DE" sz="1400" dirty="0" err="1">
                <a:effectLst/>
              </a:rPr>
              <a:t>Director</a:t>
            </a:r>
            <a:endParaRPr lang="de-DE" sz="1600" dirty="0">
              <a:effectLst/>
            </a:endParaRPr>
          </a:p>
        </p:txBody>
      </p:sp>
      <p:sp>
        <p:nvSpPr>
          <p:cNvPr id="5" name="Textplatzhalter 4">
            <a:extLst>
              <a:ext uri="{FF2B5EF4-FFF2-40B4-BE49-F238E27FC236}">
                <a16:creationId xmlns:a16="http://schemas.microsoft.com/office/drawing/2014/main" id="{ADC2B956-ECAF-6894-3930-0AC8071F3D8C}"/>
              </a:ext>
            </a:extLst>
          </p:cNvPr>
          <p:cNvSpPr>
            <a:spLocks noGrp="1"/>
          </p:cNvSpPr>
          <p:nvPr>
            <p:ph type="body" sz="quarter" idx="15"/>
          </p:nvPr>
        </p:nvSpPr>
        <p:spPr/>
        <p:txBody>
          <a:bodyPr/>
          <a:lstStyle/>
          <a:p>
            <a:endParaRPr lang="de-DE"/>
          </a:p>
        </p:txBody>
      </p:sp>
      <p:sp>
        <p:nvSpPr>
          <p:cNvPr id="6" name="Fußzeilenplatzhalter 5">
            <a:extLst>
              <a:ext uri="{FF2B5EF4-FFF2-40B4-BE49-F238E27FC236}">
                <a16:creationId xmlns:a16="http://schemas.microsoft.com/office/drawing/2014/main" id="{2B023E22-23F4-61BB-7659-EB3183E0976B}"/>
              </a:ext>
            </a:extLst>
          </p:cNvPr>
          <p:cNvSpPr>
            <a:spLocks noGrp="1"/>
          </p:cNvSpPr>
          <p:nvPr>
            <p:ph type="ftr" sz="quarter" idx="17"/>
          </p:nvPr>
        </p:nvSpPr>
        <p:spPr/>
        <p:txBody>
          <a:bodyPr/>
          <a:lstStyle/>
          <a:p>
            <a:endParaRPr lang="de-DE" dirty="0"/>
          </a:p>
        </p:txBody>
      </p:sp>
      <p:sp>
        <p:nvSpPr>
          <p:cNvPr id="7" name="Foliennummernplatzhalter 6">
            <a:extLst>
              <a:ext uri="{FF2B5EF4-FFF2-40B4-BE49-F238E27FC236}">
                <a16:creationId xmlns:a16="http://schemas.microsoft.com/office/drawing/2014/main" id="{9A225F18-234C-16F7-D070-86E8429C13F9}"/>
              </a:ext>
            </a:extLst>
          </p:cNvPr>
          <p:cNvSpPr>
            <a:spLocks noGrp="1"/>
          </p:cNvSpPr>
          <p:nvPr>
            <p:ph type="sldNum" sz="quarter" idx="18"/>
          </p:nvPr>
        </p:nvSpPr>
        <p:spPr/>
        <p:txBody>
          <a:bodyPr/>
          <a:lstStyle/>
          <a:p>
            <a:r>
              <a:rPr lang="de-DE"/>
              <a:t>Seite </a:t>
            </a:r>
            <a:fld id="{63A738E5-7FE5-4F0E-80D4-9B95A408A0CB}" type="slidenum">
              <a:rPr lang="de-DE" smtClean="0"/>
              <a:pPr/>
              <a:t>3</a:t>
            </a:fld>
            <a:endParaRPr lang="de-DE" dirty="0"/>
          </a:p>
        </p:txBody>
      </p:sp>
      <p:sp>
        <p:nvSpPr>
          <p:cNvPr id="15" name="Textfeld 14">
            <a:extLst>
              <a:ext uri="{FF2B5EF4-FFF2-40B4-BE49-F238E27FC236}">
                <a16:creationId xmlns:a16="http://schemas.microsoft.com/office/drawing/2014/main" id="{0906DF15-0EBB-1A7F-A8A8-7D07CABBCF39}"/>
              </a:ext>
            </a:extLst>
          </p:cNvPr>
          <p:cNvSpPr txBox="1"/>
          <p:nvPr/>
        </p:nvSpPr>
        <p:spPr>
          <a:xfrm>
            <a:off x="407987" y="404813"/>
            <a:ext cx="1808252" cy="276999"/>
          </a:xfrm>
          <a:prstGeom prst="rect">
            <a:avLst/>
          </a:prstGeom>
          <a:noFill/>
        </p:spPr>
        <p:txBody>
          <a:bodyPr wrap="none" lIns="0" tIns="0" rIns="0" bIns="0" rtlCol="0">
            <a:spAutoFit/>
          </a:bodyPr>
          <a:lstStyle/>
          <a:p>
            <a:r>
              <a:rPr lang="de-DE" dirty="0">
                <a:solidFill>
                  <a:srgbClr val="FFFFFF"/>
                </a:solidFill>
                <a:effectLst/>
              </a:rPr>
              <a:t>Made in Arnsberg</a:t>
            </a:r>
          </a:p>
        </p:txBody>
      </p:sp>
      <p:pic>
        <p:nvPicPr>
          <p:cNvPr id="16" name="Bildplatzhalter 15">
            <a:extLst>
              <a:ext uri="{FF2B5EF4-FFF2-40B4-BE49-F238E27FC236}">
                <a16:creationId xmlns:a16="http://schemas.microsoft.com/office/drawing/2014/main" id="{B408624A-2FF7-4ED6-B41A-91222DAB0B79}"/>
              </a:ext>
            </a:extLst>
          </p:cNvPr>
          <p:cNvPicPr>
            <a:picLocks noGrp="1" noChangeAspect="1"/>
          </p:cNvPicPr>
          <p:nvPr>
            <p:ph type="pic" sz="quarter" idx="14"/>
          </p:nvPr>
        </p:nvPicPr>
        <p:blipFill rotWithShape="1">
          <a:blip r:embed="rId3"/>
          <a:srcRect t="24716" b="284"/>
          <a:stretch/>
        </p:blipFill>
        <p:spPr>
          <a:xfrm>
            <a:off x="0" y="-2112"/>
            <a:ext cx="6096000" cy="6858000"/>
          </a:xfrm>
        </p:spPr>
      </p:pic>
      <p:sp>
        <p:nvSpPr>
          <p:cNvPr id="9" name="Textfeld 8">
            <a:extLst>
              <a:ext uri="{FF2B5EF4-FFF2-40B4-BE49-F238E27FC236}">
                <a16:creationId xmlns:a16="http://schemas.microsoft.com/office/drawing/2014/main" id="{7F5388E1-3CE9-4B40-B85E-58D51C2DB4F7}"/>
              </a:ext>
            </a:extLst>
          </p:cNvPr>
          <p:cNvSpPr txBox="1"/>
          <p:nvPr/>
        </p:nvSpPr>
        <p:spPr>
          <a:xfrm>
            <a:off x="406800" y="6424700"/>
            <a:ext cx="4437946" cy="215444"/>
          </a:xfrm>
          <a:prstGeom prst="rect">
            <a:avLst/>
          </a:prstGeom>
          <a:noFill/>
        </p:spPr>
        <p:txBody>
          <a:bodyPr wrap="none" lIns="0" tIns="0" rIns="0" bIns="0" rtlCol="0">
            <a:spAutoFit/>
          </a:bodyPr>
          <a:lstStyle/>
          <a:p>
            <a:r>
              <a:rPr lang="de-DE" sz="1400" dirty="0">
                <a:solidFill>
                  <a:srgbClr val="FFFFFF"/>
                </a:solidFill>
                <a:effectLst/>
              </a:rPr>
              <a:t>Yvonne </a:t>
            </a:r>
            <a:r>
              <a:rPr lang="de-DE" sz="1400" dirty="0" err="1">
                <a:solidFill>
                  <a:srgbClr val="FFFFFF"/>
                </a:solidFill>
                <a:effectLst/>
              </a:rPr>
              <a:t>Dallmer</a:t>
            </a:r>
            <a:r>
              <a:rPr lang="de-DE" sz="1400" dirty="0">
                <a:solidFill>
                  <a:srgbClr val="FFFFFF"/>
                </a:solidFill>
                <a:effectLst/>
              </a:rPr>
              <a:t>, Johannes </a:t>
            </a:r>
            <a:r>
              <a:rPr lang="de-DE" sz="1400" dirty="0" err="1">
                <a:solidFill>
                  <a:srgbClr val="FFFFFF"/>
                </a:solidFill>
                <a:effectLst/>
              </a:rPr>
              <a:t>Dallmer</a:t>
            </a:r>
            <a:r>
              <a:rPr lang="de-DE" sz="1400" dirty="0">
                <a:solidFill>
                  <a:srgbClr val="FFFFFF"/>
                </a:solidFill>
                <a:effectLst/>
              </a:rPr>
              <a:t>, Harry Bauermeister</a:t>
            </a:r>
          </a:p>
        </p:txBody>
      </p:sp>
    </p:spTree>
    <p:extLst>
      <p:ext uri="{BB962C8B-B14F-4D97-AF65-F5344CB8AC3E}">
        <p14:creationId xmlns:p14="http://schemas.microsoft.com/office/powerpoint/2010/main" val="30025733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85AF6E1A-34A0-2EA1-28C6-3DF076BB0AB6}"/>
              </a:ext>
            </a:extLst>
          </p:cNvPr>
          <p:cNvSpPr>
            <a:spLocks noGrp="1"/>
          </p:cNvSpPr>
          <p:nvPr>
            <p:ph type="title"/>
          </p:nvPr>
        </p:nvSpPr>
        <p:spPr/>
        <p:txBody>
          <a:bodyPr/>
          <a:lstStyle/>
          <a:p>
            <a:endParaRPr lang="de-DE" dirty="0"/>
          </a:p>
        </p:txBody>
      </p:sp>
      <p:sp>
        <p:nvSpPr>
          <p:cNvPr id="4" name="Inhaltsplatzhalter 3">
            <a:extLst>
              <a:ext uri="{FF2B5EF4-FFF2-40B4-BE49-F238E27FC236}">
                <a16:creationId xmlns:a16="http://schemas.microsoft.com/office/drawing/2014/main" id="{D5BE51D0-57D2-BF54-0543-A26F2862D6B9}"/>
              </a:ext>
            </a:extLst>
          </p:cNvPr>
          <p:cNvSpPr>
            <a:spLocks noGrp="1"/>
          </p:cNvSpPr>
          <p:nvPr>
            <p:ph idx="1"/>
          </p:nvPr>
        </p:nvSpPr>
        <p:spPr>
          <a:xfrm>
            <a:off x="6456001" y="1484784"/>
            <a:ext cx="5328012" cy="4644516"/>
          </a:xfrm>
        </p:spPr>
        <p:txBody>
          <a:bodyPr/>
          <a:lstStyle/>
          <a:p>
            <a:pPr marL="0" indent="0">
              <a:buNone/>
            </a:pPr>
            <a:r>
              <a:rPr lang="de-DE" sz="1600" b="1" dirty="0" err="1"/>
              <a:t>Investing</a:t>
            </a:r>
            <a:r>
              <a:rPr lang="de-DE" sz="1600" b="1" dirty="0"/>
              <a:t> in </a:t>
            </a:r>
            <a:r>
              <a:rPr lang="de-DE" sz="1600" b="1" dirty="0" err="1"/>
              <a:t>the</a:t>
            </a:r>
            <a:r>
              <a:rPr lang="de-DE" sz="1600" b="1" dirty="0"/>
              <a:t> </a:t>
            </a:r>
            <a:r>
              <a:rPr lang="de-DE" sz="1600" b="1" dirty="0" err="1"/>
              <a:t>future</a:t>
            </a:r>
            <a:r>
              <a:rPr lang="de-DE" sz="1600" b="1" dirty="0"/>
              <a:t>.</a:t>
            </a:r>
            <a:r>
              <a:rPr lang="de-DE" sz="1600" b="1" dirty="0">
                <a:effectLst/>
              </a:rPr>
              <a:t> </a:t>
            </a:r>
            <a:br>
              <a:rPr lang="de-DE" sz="1600" dirty="0">
                <a:effectLst/>
              </a:rPr>
            </a:br>
            <a:r>
              <a:rPr lang="de-DE" sz="1600" dirty="0" err="1">
                <a:effectLst/>
              </a:rPr>
              <a:t>Dallmer</a:t>
            </a:r>
            <a:r>
              <a:rPr lang="de-DE" sz="1600" dirty="0">
                <a:effectLst/>
              </a:rPr>
              <a:t> d</a:t>
            </a:r>
            <a:r>
              <a:rPr lang="en-US" sz="1600" dirty="0" err="1"/>
              <a:t>oes</a:t>
            </a:r>
            <a:r>
              <a:rPr lang="en-US" sz="1600" dirty="0"/>
              <a:t> not only invest money in state-of-the-art machine technology, but also in training and further education for its employees. This ensures that there is specialist know-how at the location. </a:t>
            </a:r>
            <a:br>
              <a:rPr lang="de-DE" sz="1600" dirty="0">
                <a:effectLst/>
              </a:rPr>
            </a:br>
            <a:endParaRPr lang="de-DE" sz="1600" dirty="0">
              <a:effectLst/>
            </a:endParaRPr>
          </a:p>
          <a:p>
            <a:pPr marL="0" indent="0">
              <a:buNone/>
            </a:pPr>
            <a:r>
              <a:rPr lang="de-DE" sz="1600" b="1" dirty="0" err="1"/>
              <a:t>Bringing</a:t>
            </a:r>
            <a:r>
              <a:rPr lang="de-DE" sz="1600" b="1" dirty="0"/>
              <a:t> </a:t>
            </a:r>
            <a:r>
              <a:rPr lang="de-DE" sz="1600" b="1" dirty="0" err="1"/>
              <a:t>together</a:t>
            </a:r>
            <a:r>
              <a:rPr lang="de-DE" sz="1600" b="1" dirty="0"/>
              <a:t> </a:t>
            </a:r>
            <a:r>
              <a:rPr lang="de-DE" sz="1600" b="1" dirty="0" err="1"/>
              <a:t>strengths</a:t>
            </a:r>
            <a:r>
              <a:rPr lang="de-DE" sz="1600" b="1" dirty="0"/>
              <a:t>.</a:t>
            </a:r>
            <a:r>
              <a:rPr lang="de-DE" sz="1600" b="1" dirty="0">
                <a:effectLst/>
              </a:rPr>
              <a:t> </a:t>
            </a:r>
            <a:br>
              <a:rPr lang="de-DE" sz="1600" dirty="0">
                <a:effectLst/>
              </a:rPr>
            </a:br>
            <a:r>
              <a:rPr lang="en-US" sz="1600" dirty="0"/>
              <a:t>In order to produce drainage solutions which set standards, you need a genuine innovative spirit and a high degree of experience – and state-of-the-art technology.</a:t>
            </a:r>
            <a:br>
              <a:rPr lang="de-DE" sz="1600" dirty="0">
                <a:effectLst/>
              </a:rPr>
            </a:br>
            <a:endParaRPr lang="de-DE" sz="1600" dirty="0">
              <a:effectLst/>
            </a:endParaRPr>
          </a:p>
          <a:p>
            <a:pPr marL="0" indent="0">
              <a:buNone/>
            </a:pPr>
            <a:r>
              <a:rPr lang="de-DE" sz="1600" b="1" dirty="0"/>
              <a:t>Every </a:t>
            </a:r>
            <a:r>
              <a:rPr lang="de-DE" sz="1600" b="1" dirty="0" err="1"/>
              <a:t>detail</a:t>
            </a:r>
            <a:r>
              <a:rPr lang="de-DE" sz="1600" b="1" dirty="0"/>
              <a:t> </a:t>
            </a:r>
            <a:r>
              <a:rPr lang="de-DE" sz="1600" b="1" dirty="0" err="1"/>
              <a:t>counts</a:t>
            </a:r>
            <a:r>
              <a:rPr lang="de-DE" sz="1600" b="1" dirty="0"/>
              <a:t>. </a:t>
            </a:r>
            <a:br>
              <a:rPr lang="de-DE" sz="1600" dirty="0">
                <a:effectLst/>
              </a:rPr>
            </a:br>
            <a:r>
              <a:rPr lang="en-US" sz="1600" dirty="0"/>
              <a:t>Quality is our top priority. If we all work towards this same goal, we are capable of meeting even the highest demands.</a:t>
            </a:r>
            <a:endParaRPr lang="de-DE" sz="1600" dirty="0">
              <a:effectLst/>
            </a:endParaRPr>
          </a:p>
        </p:txBody>
      </p:sp>
      <p:sp>
        <p:nvSpPr>
          <p:cNvPr id="5" name="Textplatzhalter 4">
            <a:extLst>
              <a:ext uri="{FF2B5EF4-FFF2-40B4-BE49-F238E27FC236}">
                <a16:creationId xmlns:a16="http://schemas.microsoft.com/office/drawing/2014/main" id="{ADC2B956-ECAF-6894-3930-0AC8071F3D8C}"/>
              </a:ext>
            </a:extLst>
          </p:cNvPr>
          <p:cNvSpPr>
            <a:spLocks noGrp="1"/>
          </p:cNvSpPr>
          <p:nvPr>
            <p:ph type="body" sz="quarter" idx="15"/>
          </p:nvPr>
        </p:nvSpPr>
        <p:spPr/>
        <p:txBody>
          <a:bodyPr/>
          <a:lstStyle/>
          <a:p>
            <a:endParaRPr lang="de-DE"/>
          </a:p>
        </p:txBody>
      </p:sp>
      <p:sp>
        <p:nvSpPr>
          <p:cNvPr id="6" name="Fußzeilenplatzhalter 5">
            <a:extLst>
              <a:ext uri="{FF2B5EF4-FFF2-40B4-BE49-F238E27FC236}">
                <a16:creationId xmlns:a16="http://schemas.microsoft.com/office/drawing/2014/main" id="{2B023E22-23F4-61BB-7659-EB3183E0976B}"/>
              </a:ext>
            </a:extLst>
          </p:cNvPr>
          <p:cNvSpPr>
            <a:spLocks noGrp="1"/>
          </p:cNvSpPr>
          <p:nvPr>
            <p:ph type="ftr" sz="quarter" idx="17"/>
          </p:nvPr>
        </p:nvSpPr>
        <p:spPr/>
        <p:txBody>
          <a:bodyPr/>
          <a:lstStyle/>
          <a:p>
            <a:endParaRPr lang="de-DE" dirty="0"/>
          </a:p>
        </p:txBody>
      </p:sp>
      <p:sp>
        <p:nvSpPr>
          <p:cNvPr id="7" name="Foliennummernplatzhalter 6">
            <a:extLst>
              <a:ext uri="{FF2B5EF4-FFF2-40B4-BE49-F238E27FC236}">
                <a16:creationId xmlns:a16="http://schemas.microsoft.com/office/drawing/2014/main" id="{9A225F18-234C-16F7-D070-86E8429C13F9}"/>
              </a:ext>
            </a:extLst>
          </p:cNvPr>
          <p:cNvSpPr>
            <a:spLocks noGrp="1"/>
          </p:cNvSpPr>
          <p:nvPr>
            <p:ph type="sldNum" sz="quarter" idx="18"/>
          </p:nvPr>
        </p:nvSpPr>
        <p:spPr/>
        <p:txBody>
          <a:bodyPr/>
          <a:lstStyle/>
          <a:p>
            <a:r>
              <a:rPr lang="de-DE"/>
              <a:t>Seite </a:t>
            </a:r>
            <a:fld id="{63A738E5-7FE5-4F0E-80D4-9B95A408A0CB}" type="slidenum">
              <a:rPr lang="de-DE" smtClean="0"/>
              <a:pPr/>
              <a:t>4</a:t>
            </a:fld>
            <a:endParaRPr lang="de-DE" dirty="0"/>
          </a:p>
        </p:txBody>
      </p:sp>
      <p:sp>
        <p:nvSpPr>
          <p:cNvPr id="15" name="Textfeld 14">
            <a:extLst>
              <a:ext uri="{FF2B5EF4-FFF2-40B4-BE49-F238E27FC236}">
                <a16:creationId xmlns:a16="http://schemas.microsoft.com/office/drawing/2014/main" id="{0906DF15-0EBB-1A7F-A8A8-7D07CABBCF39}"/>
              </a:ext>
            </a:extLst>
          </p:cNvPr>
          <p:cNvSpPr txBox="1"/>
          <p:nvPr/>
        </p:nvSpPr>
        <p:spPr>
          <a:xfrm>
            <a:off x="407987" y="404813"/>
            <a:ext cx="1808252" cy="276999"/>
          </a:xfrm>
          <a:prstGeom prst="rect">
            <a:avLst/>
          </a:prstGeom>
          <a:noFill/>
        </p:spPr>
        <p:txBody>
          <a:bodyPr wrap="none" lIns="0" tIns="0" rIns="0" bIns="0" rtlCol="0">
            <a:spAutoFit/>
          </a:bodyPr>
          <a:lstStyle/>
          <a:p>
            <a:r>
              <a:rPr lang="de-DE" dirty="0">
                <a:solidFill>
                  <a:srgbClr val="FFFFFF"/>
                </a:solidFill>
                <a:effectLst/>
              </a:rPr>
              <a:t>Made in Arnsberg</a:t>
            </a:r>
          </a:p>
        </p:txBody>
      </p:sp>
      <p:pic>
        <p:nvPicPr>
          <p:cNvPr id="10" name="Bildplatzhalter 9">
            <a:extLst>
              <a:ext uri="{FF2B5EF4-FFF2-40B4-BE49-F238E27FC236}">
                <a16:creationId xmlns:a16="http://schemas.microsoft.com/office/drawing/2014/main" id="{DBCC75F9-47B7-425F-A847-B9BC8910A304}"/>
              </a:ext>
            </a:extLst>
          </p:cNvPr>
          <p:cNvPicPr>
            <a:picLocks noGrp="1" noChangeAspect="1"/>
          </p:cNvPicPr>
          <p:nvPr>
            <p:ph type="pic" sz="quarter" idx="14"/>
          </p:nvPr>
        </p:nvPicPr>
        <p:blipFill rotWithShape="1">
          <a:blip r:embed="rId3"/>
          <a:srcRect l="31740" r="9000"/>
          <a:stretch/>
        </p:blipFill>
        <p:spPr>
          <a:xfrm>
            <a:off x="0" y="0"/>
            <a:ext cx="6096000" cy="6858000"/>
          </a:xfrm>
        </p:spPr>
      </p:pic>
    </p:spTree>
    <p:extLst>
      <p:ext uri="{BB962C8B-B14F-4D97-AF65-F5344CB8AC3E}">
        <p14:creationId xmlns:p14="http://schemas.microsoft.com/office/powerpoint/2010/main" val="19591961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07AC203C-F3D7-3E65-1EA3-8886455F2190}"/>
              </a:ext>
            </a:extLst>
          </p:cNvPr>
          <p:cNvSpPr>
            <a:spLocks noGrp="1"/>
          </p:cNvSpPr>
          <p:nvPr>
            <p:ph idx="1"/>
          </p:nvPr>
        </p:nvSpPr>
        <p:spPr>
          <a:xfrm>
            <a:off x="407991" y="2060847"/>
            <a:ext cx="2555662" cy="4116115"/>
          </a:xfrm>
        </p:spPr>
        <p:txBody>
          <a:bodyPr/>
          <a:lstStyle/>
          <a:p>
            <a:pPr marL="0" indent="0">
              <a:buNone/>
            </a:pPr>
            <a:r>
              <a:rPr lang="de-DE" b="1" dirty="0">
                <a:effectLst/>
              </a:rPr>
              <a:t>111</a:t>
            </a:r>
            <a:endParaRPr lang="de-DE" sz="1400" b="1" dirty="0">
              <a:effectLst/>
            </a:endParaRPr>
          </a:p>
          <a:p>
            <a:pPr marL="0" indent="0">
              <a:buNone/>
            </a:pPr>
            <a:r>
              <a:rPr lang="en-US" sz="1400" dirty="0"/>
              <a:t>The story of </a:t>
            </a:r>
            <a:r>
              <a:rPr lang="en-US" sz="1400" dirty="0" err="1"/>
              <a:t>Dallmer</a:t>
            </a:r>
            <a:r>
              <a:rPr lang="en-US" sz="1400" dirty="0"/>
              <a:t> began 1913 in </a:t>
            </a:r>
            <a:r>
              <a:rPr lang="en-US" sz="1400" dirty="0" err="1"/>
              <a:t>Neheim</a:t>
            </a:r>
            <a:r>
              <a:rPr lang="en-US" sz="1400" dirty="0"/>
              <a:t>, today Arnsberg. Founded by master engraver Johannes </a:t>
            </a:r>
            <a:r>
              <a:rPr lang="en-US" sz="1400" dirty="0" err="1"/>
              <a:t>Dallmer</a:t>
            </a:r>
            <a:r>
              <a:rPr lang="en-US" sz="1400" dirty="0"/>
              <a:t>, Sr, the company was originally committed to the production of stamps, imprints, and fine engraving work on lights.</a:t>
            </a:r>
            <a:endParaRPr lang="de-DE" sz="1400" dirty="0">
              <a:effectLst/>
            </a:endParaRPr>
          </a:p>
        </p:txBody>
      </p:sp>
      <p:sp>
        <p:nvSpPr>
          <p:cNvPr id="5" name="Fußzeilenplatzhalter 4">
            <a:extLst>
              <a:ext uri="{FF2B5EF4-FFF2-40B4-BE49-F238E27FC236}">
                <a16:creationId xmlns:a16="http://schemas.microsoft.com/office/drawing/2014/main" id="{679955FA-37E0-3A64-F779-DFC489116764}"/>
              </a:ext>
            </a:extLst>
          </p:cNvPr>
          <p:cNvSpPr>
            <a:spLocks noGrp="1"/>
          </p:cNvSpPr>
          <p:nvPr>
            <p:ph type="ftr" sz="quarter" idx="16"/>
          </p:nvPr>
        </p:nvSpPr>
        <p:spPr/>
        <p:txBody>
          <a:bodyPr/>
          <a:lstStyle/>
          <a:p>
            <a:endParaRPr lang="de-DE" dirty="0"/>
          </a:p>
        </p:txBody>
      </p:sp>
      <p:sp>
        <p:nvSpPr>
          <p:cNvPr id="6" name="Foliennummernplatzhalter 5">
            <a:extLst>
              <a:ext uri="{FF2B5EF4-FFF2-40B4-BE49-F238E27FC236}">
                <a16:creationId xmlns:a16="http://schemas.microsoft.com/office/drawing/2014/main" id="{CE653D5D-8CA4-BFAF-0E26-55B2B14F9ECC}"/>
              </a:ext>
            </a:extLst>
          </p:cNvPr>
          <p:cNvSpPr>
            <a:spLocks noGrp="1"/>
          </p:cNvSpPr>
          <p:nvPr>
            <p:ph type="sldNum" sz="quarter" idx="17"/>
          </p:nvPr>
        </p:nvSpPr>
        <p:spPr/>
        <p:txBody>
          <a:bodyPr/>
          <a:lstStyle/>
          <a:p>
            <a:r>
              <a:rPr lang="de-DE"/>
              <a:t>Seite </a:t>
            </a:r>
            <a:fld id="{63A738E5-7FE5-4F0E-80D4-9B95A408A0CB}" type="slidenum">
              <a:rPr lang="de-DE" smtClean="0"/>
              <a:pPr/>
              <a:t>5</a:t>
            </a:fld>
            <a:endParaRPr lang="de-DE" dirty="0"/>
          </a:p>
        </p:txBody>
      </p:sp>
      <p:sp>
        <p:nvSpPr>
          <p:cNvPr id="7" name="Textfeld 6">
            <a:extLst>
              <a:ext uri="{FF2B5EF4-FFF2-40B4-BE49-F238E27FC236}">
                <a16:creationId xmlns:a16="http://schemas.microsoft.com/office/drawing/2014/main" id="{6D124AB6-44AE-4FAF-D696-626EF216CC68}"/>
              </a:ext>
            </a:extLst>
          </p:cNvPr>
          <p:cNvSpPr txBox="1"/>
          <p:nvPr/>
        </p:nvSpPr>
        <p:spPr>
          <a:xfrm>
            <a:off x="407987" y="404813"/>
            <a:ext cx="1808252" cy="276999"/>
          </a:xfrm>
          <a:prstGeom prst="rect">
            <a:avLst/>
          </a:prstGeom>
          <a:noFill/>
        </p:spPr>
        <p:txBody>
          <a:bodyPr wrap="none" lIns="0" tIns="0" rIns="0" bIns="0" rtlCol="0">
            <a:spAutoFit/>
          </a:bodyPr>
          <a:lstStyle/>
          <a:p>
            <a:r>
              <a:rPr lang="de-DE" dirty="0">
                <a:solidFill>
                  <a:srgbClr val="FFFFFF"/>
                </a:solidFill>
                <a:effectLst/>
              </a:rPr>
              <a:t>Made in Arnsberg</a:t>
            </a:r>
          </a:p>
        </p:txBody>
      </p:sp>
      <p:sp>
        <p:nvSpPr>
          <p:cNvPr id="8" name="Inhaltsplatzhalter 2">
            <a:extLst>
              <a:ext uri="{FF2B5EF4-FFF2-40B4-BE49-F238E27FC236}">
                <a16:creationId xmlns:a16="http://schemas.microsoft.com/office/drawing/2014/main" id="{36685F5F-B6C3-27CE-F13B-5D1B76FFB817}"/>
              </a:ext>
            </a:extLst>
          </p:cNvPr>
          <p:cNvSpPr txBox="1">
            <a:spLocks/>
          </p:cNvSpPr>
          <p:nvPr/>
        </p:nvSpPr>
        <p:spPr>
          <a:xfrm>
            <a:off x="3251684" y="2060847"/>
            <a:ext cx="2555662" cy="4116115"/>
          </a:xfrm>
          <a:prstGeom prst="rect">
            <a:avLst/>
          </a:prstGeom>
        </p:spPr>
        <p:txBody>
          <a:bodyPr vert="horz" lIns="0" tIns="0" rIns="0" bIns="0" rtlCol="0">
            <a:noAutofit/>
          </a:bodyPr>
          <a:lstStyle>
            <a:lvl1pPr marL="270000" indent="-270000" algn="l" defTabSz="914400" rtl="0" eaLnBrk="1" latinLnBrk="0" hangingPunct="1">
              <a:lnSpc>
                <a:spcPct val="100000"/>
              </a:lnSpc>
              <a:spcBef>
                <a:spcPts val="1200"/>
              </a:spcBef>
              <a:buFont typeface="Symbol" panose="05050102010706020507" pitchFamily="18" charset="2"/>
              <a:buChar char="-"/>
              <a:defRPr sz="2000" kern="1200">
                <a:solidFill>
                  <a:schemeClr val="bg1"/>
                </a:solidFill>
                <a:latin typeface="+mn-lt"/>
                <a:ea typeface="+mn-ea"/>
                <a:cs typeface="+mn-cs"/>
              </a:defRPr>
            </a:lvl1pPr>
            <a:lvl2pPr marL="540000" indent="-270000" algn="l" defTabSz="914400" rtl="0" eaLnBrk="1" latinLnBrk="0" hangingPunct="1">
              <a:lnSpc>
                <a:spcPct val="100000"/>
              </a:lnSpc>
              <a:spcBef>
                <a:spcPts val="600"/>
              </a:spcBef>
              <a:spcAft>
                <a:spcPts val="600"/>
              </a:spcAft>
              <a:buFont typeface="Symbol" panose="05050102010706020507" pitchFamily="18" charset="2"/>
              <a:buChar char="-"/>
              <a:defRPr sz="2000" kern="1200">
                <a:solidFill>
                  <a:schemeClr val="bg1"/>
                </a:solidFill>
                <a:latin typeface="+mn-lt"/>
                <a:ea typeface="+mn-ea"/>
                <a:cs typeface="+mn-cs"/>
              </a:defRPr>
            </a:lvl2pPr>
            <a:lvl3pPr marL="810000" indent="-270000" algn="l" defTabSz="914400" rtl="0" eaLnBrk="1" latinLnBrk="0" hangingPunct="1">
              <a:lnSpc>
                <a:spcPct val="100000"/>
              </a:lnSpc>
              <a:spcBef>
                <a:spcPts val="300"/>
              </a:spcBef>
              <a:spcAft>
                <a:spcPts val="300"/>
              </a:spcAft>
              <a:buFont typeface="Symbol" panose="05050102010706020507" pitchFamily="18" charset="2"/>
              <a:buChar char="-"/>
              <a:defRPr sz="2000" kern="1200">
                <a:solidFill>
                  <a:schemeClr val="bg1"/>
                </a:solidFill>
                <a:latin typeface="+mn-lt"/>
                <a:ea typeface="+mn-ea"/>
                <a:cs typeface="+mn-cs"/>
              </a:defRPr>
            </a:lvl3pPr>
            <a:lvl4pPr marL="1080000" indent="-270000" algn="l" defTabSz="914400" rtl="0" eaLnBrk="1" latinLnBrk="0" hangingPunct="1">
              <a:lnSpc>
                <a:spcPct val="100000"/>
              </a:lnSpc>
              <a:spcBef>
                <a:spcPts val="100"/>
              </a:spcBef>
              <a:spcAft>
                <a:spcPts val="100"/>
              </a:spcAft>
              <a:buFont typeface="Symbol" panose="05050102010706020507" pitchFamily="18" charset="2"/>
              <a:buChar char="-"/>
              <a:defRPr sz="2000" kern="1200">
                <a:solidFill>
                  <a:schemeClr val="bg1"/>
                </a:solidFill>
                <a:latin typeface="+mn-lt"/>
                <a:ea typeface="+mn-ea"/>
                <a:cs typeface="+mn-cs"/>
              </a:defRPr>
            </a:lvl4pPr>
            <a:lvl5pPr marL="1350000" indent="-270000" algn="l" defTabSz="91440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b="1" dirty="0">
                <a:effectLst/>
              </a:rPr>
              <a:t>4</a:t>
            </a:r>
          </a:p>
          <a:p>
            <a:pPr marL="0" indent="0">
              <a:buNone/>
            </a:pPr>
            <a:r>
              <a:rPr lang="en-US" sz="1400" dirty="0"/>
              <a:t>Yvonne </a:t>
            </a:r>
            <a:r>
              <a:rPr lang="en-US" sz="1400" dirty="0" err="1"/>
              <a:t>Dallmer</a:t>
            </a:r>
            <a:r>
              <a:rPr lang="en-US" sz="1400" dirty="0"/>
              <a:t> joins the company in the 4th generation. Her passion for architecture and design makes the brand unmistakable.</a:t>
            </a:r>
            <a:br>
              <a:rPr lang="de-DE" sz="1400" dirty="0">
                <a:effectLst/>
                <a:latin typeface="Univers LT Std" panose="020B0603020202020204" pitchFamily="34" charset="0"/>
              </a:rPr>
            </a:br>
            <a:endParaRPr lang="de-DE" sz="1400" dirty="0">
              <a:effectLst/>
              <a:latin typeface="Univers LT Std" panose="020B0603020202020204" pitchFamily="34" charset="0"/>
            </a:endParaRPr>
          </a:p>
        </p:txBody>
      </p:sp>
      <p:sp>
        <p:nvSpPr>
          <p:cNvPr id="9" name="Inhaltsplatzhalter 2">
            <a:extLst>
              <a:ext uri="{FF2B5EF4-FFF2-40B4-BE49-F238E27FC236}">
                <a16:creationId xmlns:a16="http://schemas.microsoft.com/office/drawing/2014/main" id="{16AE6E5C-5927-6A8A-835C-9F7A883070D3}"/>
              </a:ext>
            </a:extLst>
          </p:cNvPr>
          <p:cNvSpPr txBox="1">
            <a:spLocks/>
          </p:cNvSpPr>
          <p:nvPr/>
        </p:nvSpPr>
        <p:spPr>
          <a:xfrm>
            <a:off x="6353609" y="2060847"/>
            <a:ext cx="2555662" cy="4116115"/>
          </a:xfrm>
          <a:prstGeom prst="rect">
            <a:avLst/>
          </a:prstGeom>
        </p:spPr>
        <p:txBody>
          <a:bodyPr vert="horz" lIns="0" tIns="0" rIns="0" bIns="0" rtlCol="0">
            <a:noAutofit/>
          </a:bodyPr>
          <a:lstStyle>
            <a:lvl1pPr marL="270000" indent="-270000" algn="l" defTabSz="914400" rtl="0" eaLnBrk="1" latinLnBrk="0" hangingPunct="1">
              <a:lnSpc>
                <a:spcPct val="100000"/>
              </a:lnSpc>
              <a:spcBef>
                <a:spcPts val="1200"/>
              </a:spcBef>
              <a:buFont typeface="Symbol" panose="05050102010706020507" pitchFamily="18" charset="2"/>
              <a:buChar char="-"/>
              <a:defRPr sz="2000" kern="1200">
                <a:solidFill>
                  <a:schemeClr val="bg1"/>
                </a:solidFill>
                <a:latin typeface="+mn-lt"/>
                <a:ea typeface="+mn-ea"/>
                <a:cs typeface="+mn-cs"/>
              </a:defRPr>
            </a:lvl1pPr>
            <a:lvl2pPr marL="540000" indent="-270000" algn="l" defTabSz="914400" rtl="0" eaLnBrk="1" latinLnBrk="0" hangingPunct="1">
              <a:lnSpc>
                <a:spcPct val="100000"/>
              </a:lnSpc>
              <a:spcBef>
                <a:spcPts val="600"/>
              </a:spcBef>
              <a:spcAft>
                <a:spcPts val="600"/>
              </a:spcAft>
              <a:buFont typeface="Symbol" panose="05050102010706020507" pitchFamily="18" charset="2"/>
              <a:buChar char="-"/>
              <a:defRPr sz="2000" kern="1200">
                <a:solidFill>
                  <a:schemeClr val="bg1"/>
                </a:solidFill>
                <a:latin typeface="+mn-lt"/>
                <a:ea typeface="+mn-ea"/>
                <a:cs typeface="+mn-cs"/>
              </a:defRPr>
            </a:lvl2pPr>
            <a:lvl3pPr marL="810000" indent="-270000" algn="l" defTabSz="914400" rtl="0" eaLnBrk="1" latinLnBrk="0" hangingPunct="1">
              <a:lnSpc>
                <a:spcPct val="100000"/>
              </a:lnSpc>
              <a:spcBef>
                <a:spcPts val="300"/>
              </a:spcBef>
              <a:spcAft>
                <a:spcPts val="300"/>
              </a:spcAft>
              <a:buFont typeface="Symbol" panose="05050102010706020507" pitchFamily="18" charset="2"/>
              <a:buChar char="-"/>
              <a:defRPr sz="2000" kern="1200">
                <a:solidFill>
                  <a:schemeClr val="bg1"/>
                </a:solidFill>
                <a:latin typeface="+mn-lt"/>
                <a:ea typeface="+mn-ea"/>
                <a:cs typeface="+mn-cs"/>
              </a:defRPr>
            </a:lvl3pPr>
            <a:lvl4pPr marL="1080000" indent="-270000" algn="l" defTabSz="914400" rtl="0" eaLnBrk="1" latinLnBrk="0" hangingPunct="1">
              <a:lnSpc>
                <a:spcPct val="100000"/>
              </a:lnSpc>
              <a:spcBef>
                <a:spcPts val="100"/>
              </a:spcBef>
              <a:spcAft>
                <a:spcPts val="100"/>
              </a:spcAft>
              <a:buFont typeface="Symbol" panose="05050102010706020507" pitchFamily="18" charset="2"/>
              <a:buChar char="-"/>
              <a:defRPr sz="2000" kern="1200">
                <a:solidFill>
                  <a:schemeClr val="bg1"/>
                </a:solidFill>
                <a:latin typeface="+mn-lt"/>
                <a:ea typeface="+mn-ea"/>
                <a:cs typeface="+mn-cs"/>
              </a:defRPr>
            </a:lvl4pPr>
            <a:lvl5pPr marL="1350000" indent="-270000" algn="l" defTabSz="91440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b="1" dirty="0">
                <a:effectLst/>
              </a:rPr>
              <a:t>16</a:t>
            </a:r>
          </a:p>
          <a:p>
            <a:pPr marL="0" indent="0">
              <a:buNone/>
            </a:pPr>
            <a:r>
              <a:rPr lang="en-US" sz="1400" dirty="0" err="1"/>
              <a:t>Dallmer</a:t>
            </a:r>
            <a:r>
              <a:rPr lang="en-US" sz="1400" dirty="0"/>
              <a:t> now has 16 sales offices in Germany, and exports are also growing.</a:t>
            </a:r>
            <a:br>
              <a:rPr lang="de-DE" sz="1400" dirty="0">
                <a:effectLst/>
                <a:latin typeface="Univers Next Pro" panose="020B0606030202020203" pitchFamily="34" charset="77"/>
              </a:rPr>
            </a:br>
            <a:endParaRPr lang="de-DE" sz="1400" dirty="0">
              <a:effectLst/>
              <a:latin typeface="Univers LT Std" panose="020B0603020202020204" pitchFamily="34" charset="0"/>
            </a:endParaRPr>
          </a:p>
          <a:p>
            <a:pPr marL="0" indent="0">
              <a:buNone/>
            </a:pPr>
            <a:br>
              <a:rPr lang="de-DE" sz="1400" dirty="0">
                <a:effectLst/>
                <a:latin typeface="Univers LT Std" panose="020B0603020202020204" pitchFamily="34" charset="0"/>
              </a:rPr>
            </a:br>
            <a:endParaRPr lang="de-DE" sz="1400" dirty="0">
              <a:effectLst/>
              <a:latin typeface="Univers LT Std" panose="020B0603020202020204" pitchFamily="34" charset="0"/>
            </a:endParaRPr>
          </a:p>
        </p:txBody>
      </p:sp>
      <p:sp>
        <p:nvSpPr>
          <p:cNvPr id="10" name="Inhaltsplatzhalter 2">
            <a:extLst>
              <a:ext uri="{FF2B5EF4-FFF2-40B4-BE49-F238E27FC236}">
                <a16:creationId xmlns:a16="http://schemas.microsoft.com/office/drawing/2014/main" id="{6CE22335-A886-1BF2-AD26-5919808AAC3D}"/>
              </a:ext>
            </a:extLst>
          </p:cNvPr>
          <p:cNvSpPr txBox="1">
            <a:spLocks/>
          </p:cNvSpPr>
          <p:nvPr/>
        </p:nvSpPr>
        <p:spPr>
          <a:xfrm>
            <a:off x="9191104" y="2060847"/>
            <a:ext cx="2555662" cy="4116115"/>
          </a:xfrm>
          <a:prstGeom prst="rect">
            <a:avLst/>
          </a:prstGeom>
        </p:spPr>
        <p:txBody>
          <a:bodyPr vert="horz" lIns="0" tIns="0" rIns="0" bIns="0" rtlCol="0">
            <a:noAutofit/>
          </a:bodyPr>
          <a:lstStyle>
            <a:lvl1pPr marL="270000" indent="-270000" algn="l" defTabSz="914400" rtl="0" eaLnBrk="1" latinLnBrk="0" hangingPunct="1">
              <a:lnSpc>
                <a:spcPct val="100000"/>
              </a:lnSpc>
              <a:spcBef>
                <a:spcPts val="1200"/>
              </a:spcBef>
              <a:buFont typeface="Symbol" panose="05050102010706020507" pitchFamily="18" charset="2"/>
              <a:buChar char="-"/>
              <a:defRPr sz="2000" kern="1200">
                <a:solidFill>
                  <a:schemeClr val="bg1"/>
                </a:solidFill>
                <a:latin typeface="+mn-lt"/>
                <a:ea typeface="+mn-ea"/>
                <a:cs typeface="+mn-cs"/>
              </a:defRPr>
            </a:lvl1pPr>
            <a:lvl2pPr marL="540000" indent="-270000" algn="l" defTabSz="914400" rtl="0" eaLnBrk="1" latinLnBrk="0" hangingPunct="1">
              <a:lnSpc>
                <a:spcPct val="100000"/>
              </a:lnSpc>
              <a:spcBef>
                <a:spcPts val="600"/>
              </a:spcBef>
              <a:spcAft>
                <a:spcPts val="600"/>
              </a:spcAft>
              <a:buFont typeface="Symbol" panose="05050102010706020507" pitchFamily="18" charset="2"/>
              <a:buChar char="-"/>
              <a:defRPr sz="2000" kern="1200">
                <a:solidFill>
                  <a:schemeClr val="bg1"/>
                </a:solidFill>
                <a:latin typeface="+mn-lt"/>
                <a:ea typeface="+mn-ea"/>
                <a:cs typeface="+mn-cs"/>
              </a:defRPr>
            </a:lvl2pPr>
            <a:lvl3pPr marL="810000" indent="-270000" algn="l" defTabSz="914400" rtl="0" eaLnBrk="1" latinLnBrk="0" hangingPunct="1">
              <a:lnSpc>
                <a:spcPct val="100000"/>
              </a:lnSpc>
              <a:spcBef>
                <a:spcPts val="300"/>
              </a:spcBef>
              <a:spcAft>
                <a:spcPts val="300"/>
              </a:spcAft>
              <a:buFont typeface="Symbol" panose="05050102010706020507" pitchFamily="18" charset="2"/>
              <a:buChar char="-"/>
              <a:defRPr sz="2000" kern="1200">
                <a:solidFill>
                  <a:schemeClr val="bg1"/>
                </a:solidFill>
                <a:latin typeface="+mn-lt"/>
                <a:ea typeface="+mn-ea"/>
                <a:cs typeface="+mn-cs"/>
              </a:defRPr>
            </a:lvl3pPr>
            <a:lvl4pPr marL="1080000" indent="-270000" algn="l" defTabSz="914400" rtl="0" eaLnBrk="1" latinLnBrk="0" hangingPunct="1">
              <a:lnSpc>
                <a:spcPct val="100000"/>
              </a:lnSpc>
              <a:spcBef>
                <a:spcPts val="100"/>
              </a:spcBef>
              <a:spcAft>
                <a:spcPts val="100"/>
              </a:spcAft>
              <a:buFont typeface="Symbol" panose="05050102010706020507" pitchFamily="18" charset="2"/>
              <a:buChar char="-"/>
              <a:defRPr sz="2000" kern="1200">
                <a:solidFill>
                  <a:schemeClr val="bg1"/>
                </a:solidFill>
                <a:latin typeface="+mn-lt"/>
                <a:ea typeface="+mn-ea"/>
                <a:cs typeface="+mn-cs"/>
              </a:defRPr>
            </a:lvl4pPr>
            <a:lvl5pPr marL="1350000" indent="-270000" algn="l" defTabSz="91440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b="1" dirty="0">
                <a:effectLst/>
              </a:rPr>
              <a:t>10</a:t>
            </a:r>
          </a:p>
          <a:p>
            <a:pPr marL="0" indent="0">
              <a:buNone/>
            </a:pPr>
            <a:r>
              <a:rPr lang="en-US" sz="1400" dirty="0"/>
              <a:t>10-year warranty: innovative and safe drainage technology at the highest level can be realized with our products. We have much to thank our clients for, who continue to give us incentives for new developments and this is our way of saying thank you! With a promise that you can extend to your customers: a 10-year warranty on </a:t>
            </a:r>
            <a:r>
              <a:rPr lang="en-US" sz="1400" dirty="0" err="1"/>
              <a:t>Dallmer</a:t>
            </a:r>
            <a:r>
              <a:rPr lang="en-US" sz="1400" dirty="0"/>
              <a:t> products.</a:t>
            </a:r>
            <a:br>
              <a:rPr lang="de-DE" sz="1200" dirty="0">
                <a:effectLst/>
                <a:latin typeface="Univers Next Pro" panose="020B0606030202020203" pitchFamily="34" charset="77"/>
              </a:rPr>
            </a:br>
            <a:endParaRPr lang="de-DE" sz="1200" dirty="0">
              <a:effectLst/>
              <a:latin typeface="Univers LT Std" panose="020B0603020202020204" pitchFamily="34" charset="0"/>
            </a:endParaRPr>
          </a:p>
          <a:p>
            <a:pPr marL="0" indent="0">
              <a:buNone/>
            </a:pPr>
            <a:br>
              <a:rPr lang="de-DE" sz="1400" dirty="0">
                <a:effectLst/>
                <a:latin typeface="Univers Next Pro" panose="020B0606030202020203" pitchFamily="34" charset="77"/>
              </a:rPr>
            </a:br>
            <a:endParaRPr lang="de-DE" sz="1400" dirty="0">
              <a:effectLst/>
              <a:latin typeface="Univers LT Std" panose="020B0603020202020204" pitchFamily="34" charset="0"/>
            </a:endParaRPr>
          </a:p>
          <a:p>
            <a:pPr marL="0" indent="0">
              <a:buNone/>
            </a:pPr>
            <a:br>
              <a:rPr lang="de-DE" sz="1400" dirty="0">
                <a:effectLst/>
                <a:latin typeface="Univers LT Std" panose="020B0603020202020204" pitchFamily="34" charset="0"/>
              </a:rPr>
            </a:br>
            <a:endParaRPr lang="de-DE" sz="1400" dirty="0">
              <a:effectLst/>
              <a:latin typeface="Univers LT Std" panose="020B0603020202020204" pitchFamily="34" charset="0"/>
            </a:endParaRPr>
          </a:p>
        </p:txBody>
      </p:sp>
      <p:cxnSp>
        <p:nvCxnSpPr>
          <p:cNvPr id="12" name="Gerade Verbindung 11">
            <a:extLst>
              <a:ext uri="{FF2B5EF4-FFF2-40B4-BE49-F238E27FC236}">
                <a16:creationId xmlns:a16="http://schemas.microsoft.com/office/drawing/2014/main" id="{85755EE9-A22D-FF2C-35F3-23E2D2794F4A}"/>
              </a:ext>
            </a:extLst>
          </p:cNvPr>
          <p:cNvCxnSpPr/>
          <p:nvPr/>
        </p:nvCxnSpPr>
        <p:spPr>
          <a:xfrm>
            <a:off x="2987252" y="2060575"/>
            <a:ext cx="0" cy="3492388"/>
          </a:xfrm>
          <a:prstGeom prst="line">
            <a:avLst/>
          </a:prstGeom>
          <a:ln w="6350">
            <a:solidFill>
              <a:schemeClr val="bg1"/>
            </a:solidFill>
          </a:ln>
        </p:spPr>
        <p:style>
          <a:lnRef idx="1">
            <a:schemeClr val="accent6"/>
          </a:lnRef>
          <a:fillRef idx="0">
            <a:schemeClr val="accent6"/>
          </a:fillRef>
          <a:effectRef idx="0">
            <a:schemeClr val="accent6"/>
          </a:effectRef>
          <a:fontRef idx="minor">
            <a:schemeClr val="tx1"/>
          </a:fontRef>
        </p:style>
      </p:cxnSp>
      <p:cxnSp>
        <p:nvCxnSpPr>
          <p:cNvPr id="13" name="Gerade Verbindung 12">
            <a:extLst>
              <a:ext uri="{FF2B5EF4-FFF2-40B4-BE49-F238E27FC236}">
                <a16:creationId xmlns:a16="http://schemas.microsoft.com/office/drawing/2014/main" id="{90F7167B-6789-1C89-02C9-0CE869C82B00}"/>
              </a:ext>
            </a:extLst>
          </p:cNvPr>
          <p:cNvCxnSpPr/>
          <p:nvPr/>
        </p:nvCxnSpPr>
        <p:spPr>
          <a:xfrm>
            <a:off x="6089178" y="2060575"/>
            <a:ext cx="0" cy="3492388"/>
          </a:xfrm>
          <a:prstGeom prst="line">
            <a:avLst/>
          </a:prstGeom>
          <a:ln w="6350">
            <a:solidFill>
              <a:schemeClr val="bg1"/>
            </a:solidFill>
          </a:ln>
        </p:spPr>
        <p:style>
          <a:lnRef idx="1">
            <a:schemeClr val="accent6"/>
          </a:lnRef>
          <a:fillRef idx="0">
            <a:schemeClr val="accent6"/>
          </a:fillRef>
          <a:effectRef idx="0">
            <a:schemeClr val="accent6"/>
          </a:effectRef>
          <a:fontRef idx="minor">
            <a:schemeClr val="tx1"/>
          </a:fontRef>
        </p:style>
      </p:cxnSp>
      <p:cxnSp>
        <p:nvCxnSpPr>
          <p:cNvPr id="14" name="Gerade Verbindung 13">
            <a:extLst>
              <a:ext uri="{FF2B5EF4-FFF2-40B4-BE49-F238E27FC236}">
                <a16:creationId xmlns:a16="http://schemas.microsoft.com/office/drawing/2014/main" id="{3FFE152C-5EC6-3CF5-614A-35042BAA3E07}"/>
              </a:ext>
            </a:extLst>
          </p:cNvPr>
          <p:cNvCxnSpPr/>
          <p:nvPr/>
        </p:nvCxnSpPr>
        <p:spPr>
          <a:xfrm>
            <a:off x="8868308" y="2060575"/>
            <a:ext cx="0" cy="3492388"/>
          </a:xfrm>
          <a:prstGeom prst="line">
            <a:avLst/>
          </a:prstGeom>
          <a:ln w="6350">
            <a:solidFill>
              <a:schemeClr val="bg1"/>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39366762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07AC203C-F3D7-3E65-1EA3-8886455F2190}"/>
              </a:ext>
            </a:extLst>
          </p:cNvPr>
          <p:cNvSpPr>
            <a:spLocks noGrp="1"/>
          </p:cNvSpPr>
          <p:nvPr>
            <p:ph idx="1"/>
          </p:nvPr>
        </p:nvSpPr>
        <p:spPr>
          <a:xfrm>
            <a:off x="407988" y="4113213"/>
            <a:ext cx="1772051" cy="2063749"/>
          </a:xfrm>
        </p:spPr>
        <p:txBody>
          <a:bodyPr/>
          <a:lstStyle/>
          <a:p>
            <a:pPr marL="0" indent="0">
              <a:buNone/>
            </a:pPr>
            <a:r>
              <a:rPr lang="de-DE" sz="1200" dirty="0" err="1"/>
              <a:t>Shower</a:t>
            </a:r>
            <a:r>
              <a:rPr lang="de-DE" sz="1200" dirty="0"/>
              <a:t> </a:t>
            </a:r>
            <a:r>
              <a:rPr lang="de-DE" sz="1200" dirty="0" err="1"/>
              <a:t>channel</a:t>
            </a:r>
            <a:r>
              <a:rPr lang="de-DE" sz="1200" dirty="0"/>
              <a:t> </a:t>
            </a:r>
            <a:r>
              <a:rPr lang="de-DE" sz="1200" dirty="0" err="1"/>
              <a:t>systems</a:t>
            </a:r>
            <a:br>
              <a:rPr lang="de-DE" sz="1200" dirty="0">
                <a:effectLst/>
              </a:rPr>
            </a:br>
            <a:endParaRPr lang="de-DE" sz="1200" dirty="0">
              <a:effectLst/>
            </a:endParaRPr>
          </a:p>
          <a:p>
            <a:pPr marL="0" indent="0">
              <a:buNone/>
            </a:pPr>
            <a:r>
              <a:rPr lang="de-DE" sz="1200" dirty="0">
                <a:effectLst/>
              </a:rPr>
              <a:t>The versatile </a:t>
            </a:r>
            <a:r>
              <a:rPr lang="de-DE" sz="1200" dirty="0" err="1">
                <a:effectLst/>
              </a:rPr>
              <a:t>shower</a:t>
            </a:r>
            <a:r>
              <a:rPr lang="de-DE" sz="1200" dirty="0">
                <a:effectLst/>
              </a:rPr>
              <a:t> </a:t>
            </a:r>
            <a:r>
              <a:rPr lang="de-DE" sz="1200" dirty="0" err="1">
                <a:effectLst/>
              </a:rPr>
              <a:t>channel</a:t>
            </a:r>
            <a:r>
              <a:rPr lang="de-DE" sz="1200" dirty="0">
                <a:effectLst/>
              </a:rPr>
              <a:t> </a:t>
            </a:r>
            <a:r>
              <a:rPr lang="de-DE" sz="1200" dirty="0" err="1">
                <a:effectLst/>
              </a:rPr>
              <a:t>systems</a:t>
            </a:r>
            <a:r>
              <a:rPr lang="de-DE" sz="1200" dirty="0">
                <a:effectLst/>
              </a:rPr>
              <a:t> </a:t>
            </a:r>
            <a:r>
              <a:rPr lang="de-DE" sz="1200" dirty="0" err="1">
                <a:effectLst/>
              </a:rPr>
              <a:t>from</a:t>
            </a:r>
            <a:r>
              <a:rPr lang="de-DE" sz="1200" dirty="0">
                <a:effectLst/>
              </a:rPr>
              <a:t> </a:t>
            </a:r>
            <a:r>
              <a:rPr lang="de-DE" sz="1200" dirty="0" err="1">
                <a:effectLst/>
              </a:rPr>
              <a:t>Dallmer</a:t>
            </a:r>
            <a:r>
              <a:rPr lang="de-DE" sz="1200" dirty="0">
                <a:effectLst/>
              </a:rPr>
              <a:t> stand </a:t>
            </a:r>
            <a:r>
              <a:rPr lang="de-DE" sz="1200" dirty="0" err="1">
                <a:effectLst/>
              </a:rPr>
              <a:t>for</a:t>
            </a:r>
            <a:r>
              <a:rPr lang="de-DE" sz="1200" dirty="0">
                <a:effectLst/>
              </a:rPr>
              <a:t> excellence a</a:t>
            </a:r>
            <a:r>
              <a:rPr lang="en-US" sz="1200" dirty="0"/>
              <a:t>cross the board, and create bathrooms without limits.</a:t>
            </a:r>
            <a:endParaRPr lang="de-DE" sz="1200" dirty="0">
              <a:effectLst/>
            </a:endParaRPr>
          </a:p>
        </p:txBody>
      </p:sp>
      <p:sp>
        <p:nvSpPr>
          <p:cNvPr id="5" name="Fußzeilenplatzhalter 4">
            <a:extLst>
              <a:ext uri="{FF2B5EF4-FFF2-40B4-BE49-F238E27FC236}">
                <a16:creationId xmlns:a16="http://schemas.microsoft.com/office/drawing/2014/main" id="{679955FA-37E0-3A64-F779-DFC489116764}"/>
              </a:ext>
            </a:extLst>
          </p:cNvPr>
          <p:cNvSpPr>
            <a:spLocks noGrp="1"/>
          </p:cNvSpPr>
          <p:nvPr>
            <p:ph type="ftr" sz="quarter" idx="16"/>
          </p:nvPr>
        </p:nvSpPr>
        <p:spPr/>
        <p:txBody>
          <a:bodyPr/>
          <a:lstStyle/>
          <a:p>
            <a:endParaRPr lang="de-DE" dirty="0"/>
          </a:p>
        </p:txBody>
      </p:sp>
      <p:sp>
        <p:nvSpPr>
          <p:cNvPr id="6" name="Foliennummernplatzhalter 5">
            <a:extLst>
              <a:ext uri="{FF2B5EF4-FFF2-40B4-BE49-F238E27FC236}">
                <a16:creationId xmlns:a16="http://schemas.microsoft.com/office/drawing/2014/main" id="{CE653D5D-8CA4-BFAF-0E26-55B2B14F9ECC}"/>
              </a:ext>
            </a:extLst>
          </p:cNvPr>
          <p:cNvSpPr>
            <a:spLocks noGrp="1"/>
          </p:cNvSpPr>
          <p:nvPr>
            <p:ph type="sldNum" sz="quarter" idx="17"/>
          </p:nvPr>
        </p:nvSpPr>
        <p:spPr/>
        <p:txBody>
          <a:bodyPr/>
          <a:lstStyle/>
          <a:p>
            <a:r>
              <a:rPr lang="de-DE"/>
              <a:t>Seite </a:t>
            </a:r>
            <a:fld id="{63A738E5-7FE5-4F0E-80D4-9B95A408A0CB}" type="slidenum">
              <a:rPr lang="de-DE" smtClean="0"/>
              <a:pPr/>
              <a:t>6</a:t>
            </a:fld>
            <a:endParaRPr lang="de-DE" dirty="0"/>
          </a:p>
        </p:txBody>
      </p:sp>
      <p:sp>
        <p:nvSpPr>
          <p:cNvPr id="7" name="Textfeld 6">
            <a:extLst>
              <a:ext uri="{FF2B5EF4-FFF2-40B4-BE49-F238E27FC236}">
                <a16:creationId xmlns:a16="http://schemas.microsoft.com/office/drawing/2014/main" id="{6D124AB6-44AE-4FAF-D696-626EF216CC68}"/>
              </a:ext>
            </a:extLst>
          </p:cNvPr>
          <p:cNvSpPr txBox="1"/>
          <p:nvPr/>
        </p:nvSpPr>
        <p:spPr>
          <a:xfrm>
            <a:off x="407987" y="404813"/>
            <a:ext cx="1808252" cy="276999"/>
          </a:xfrm>
          <a:prstGeom prst="rect">
            <a:avLst/>
          </a:prstGeom>
          <a:noFill/>
        </p:spPr>
        <p:txBody>
          <a:bodyPr wrap="none" lIns="0" tIns="0" rIns="0" bIns="0" rtlCol="0">
            <a:spAutoFit/>
          </a:bodyPr>
          <a:lstStyle/>
          <a:p>
            <a:r>
              <a:rPr lang="de-DE" dirty="0">
                <a:solidFill>
                  <a:srgbClr val="FFFFFF"/>
                </a:solidFill>
                <a:effectLst/>
              </a:rPr>
              <a:t>Made in Arnsberg</a:t>
            </a:r>
          </a:p>
        </p:txBody>
      </p:sp>
      <p:sp>
        <p:nvSpPr>
          <p:cNvPr id="2" name="Inhaltsplatzhalter 2">
            <a:extLst>
              <a:ext uri="{FF2B5EF4-FFF2-40B4-BE49-F238E27FC236}">
                <a16:creationId xmlns:a16="http://schemas.microsoft.com/office/drawing/2014/main" id="{9F8E993B-C813-4030-5247-1C8781133F86}"/>
              </a:ext>
            </a:extLst>
          </p:cNvPr>
          <p:cNvSpPr txBox="1">
            <a:spLocks/>
          </p:cNvSpPr>
          <p:nvPr/>
        </p:nvSpPr>
        <p:spPr>
          <a:xfrm>
            <a:off x="2323153" y="4113213"/>
            <a:ext cx="1772051" cy="2063749"/>
          </a:xfrm>
          <a:prstGeom prst="rect">
            <a:avLst/>
          </a:prstGeom>
        </p:spPr>
        <p:txBody>
          <a:bodyPr vert="horz" lIns="0" tIns="0" rIns="0" bIns="0" rtlCol="0">
            <a:noAutofit/>
          </a:bodyPr>
          <a:lstStyle>
            <a:lvl1pPr marL="270000" indent="-270000" algn="l" defTabSz="914400" rtl="0" eaLnBrk="1" latinLnBrk="0" hangingPunct="1">
              <a:lnSpc>
                <a:spcPct val="100000"/>
              </a:lnSpc>
              <a:spcBef>
                <a:spcPts val="1200"/>
              </a:spcBef>
              <a:buFont typeface="Symbol" panose="05050102010706020507" pitchFamily="18" charset="2"/>
              <a:buChar char="-"/>
              <a:defRPr sz="2000" kern="1200">
                <a:solidFill>
                  <a:schemeClr val="bg1"/>
                </a:solidFill>
                <a:latin typeface="+mn-lt"/>
                <a:ea typeface="+mn-ea"/>
                <a:cs typeface="+mn-cs"/>
              </a:defRPr>
            </a:lvl1pPr>
            <a:lvl2pPr marL="540000" indent="-270000" algn="l" defTabSz="914400" rtl="0" eaLnBrk="1" latinLnBrk="0" hangingPunct="1">
              <a:lnSpc>
                <a:spcPct val="100000"/>
              </a:lnSpc>
              <a:spcBef>
                <a:spcPts val="600"/>
              </a:spcBef>
              <a:spcAft>
                <a:spcPts val="600"/>
              </a:spcAft>
              <a:buFont typeface="Symbol" panose="05050102010706020507" pitchFamily="18" charset="2"/>
              <a:buChar char="-"/>
              <a:defRPr sz="2000" kern="1200">
                <a:solidFill>
                  <a:schemeClr val="bg1"/>
                </a:solidFill>
                <a:latin typeface="+mn-lt"/>
                <a:ea typeface="+mn-ea"/>
                <a:cs typeface="+mn-cs"/>
              </a:defRPr>
            </a:lvl2pPr>
            <a:lvl3pPr marL="810000" indent="-270000" algn="l" defTabSz="914400" rtl="0" eaLnBrk="1" latinLnBrk="0" hangingPunct="1">
              <a:lnSpc>
                <a:spcPct val="100000"/>
              </a:lnSpc>
              <a:spcBef>
                <a:spcPts val="300"/>
              </a:spcBef>
              <a:spcAft>
                <a:spcPts val="300"/>
              </a:spcAft>
              <a:buFont typeface="Symbol" panose="05050102010706020507" pitchFamily="18" charset="2"/>
              <a:buChar char="-"/>
              <a:defRPr sz="2000" kern="1200">
                <a:solidFill>
                  <a:schemeClr val="bg1"/>
                </a:solidFill>
                <a:latin typeface="+mn-lt"/>
                <a:ea typeface="+mn-ea"/>
                <a:cs typeface="+mn-cs"/>
              </a:defRPr>
            </a:lvl3pPr>
            <a:lvl4pPr marL="1080000" indent="-270000" algn="l" defTabSz="914400" rtl="0" eaLnBrk="1" latinLnBrk="0" hangingPunct="1">
              <a:lnSpc>
                <a:spcPct val="100000"/>
              </a:lnSpc>
              <a:spcBef>
                <a:spcPts val="100"/>
              </a:spcBef>
              <a:spcAft>
                <a:spcPts val="100"/>
              </a:spcAft>
              <a:buFont typeface="Symbol" panose="05050102010706020507" pitchFamily="18" charset="2"/>
              <a:buChar char="-"/>
              <a:defRPr sz="2000" kern="1200">
                <a:solidFill>
                  <a:schemeClr val="bg1"/>
                </a:solidFill>
                <a:latin typeface="+mn-lt"/>
                <a:ea typeface="+mn-ea"/>
                <a:cs typeface="+mn-cs"/>
              </a:defRPr>
            </a:lvl4pPr>
            <a:lvl5pPr marL="1350000" indent="-270000" algn="l" defTabSz="91440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1200" dirty="0"/>
              <a:t>Floor drain </a:t>
            </a:r>
            <a:r>
              <a:rPr lang="de-DE" sz="1200" dirty="0" err="1"/>
              <a:t>systems</a:t>
            </a:r>
            <a:br>
              <a:rPr lang="de-DE" sz="1200" dirty="0"/>
            </a:br>
            <a:endParaRPr lang="de-DE" sz="1200" dirty="0"/>
          </a:p>
          <a:p>
            <a:pPr marL="0" indent="0">
              <a:buNone/>
            </a:pPr>
            <a:r>
              <a:rPr lang="en-US" sz="1200" dirty="0" err="1"/>
              <a:t>Dallmer</a:t>
            </a:r>
            <a:r>
              <a:rPr lang="en-US" sz="1200" dirty="0"/>
              <a:t> offers attractive and innovative point drains for the drainage of floors, bathrooms and level-access showers.</a:t>
            </a:r>
            <a:endParaRPr lang="de-DE" sz="1200" dirty="0"/>
          </a:p>
        </p:txBody>
      </p:sp>
      <p:sp>
        <p:nvSpPr>
          <p:cNvPr id="4" name="Inhaltsplatzhalter 2">
            <a:extLst>
              <a:ext uri="{FF2B5EF4-FFF2-40B4-BE49-F238E27FC236}">
                <a16:creationId xmlns:a16="http://schemas.microsoft.com/office/drawing/2014/main" id="{9C79A40D-4A4F-678A-7761-83285DB68208}"/>
              </a:ext>
            </a:extLst>
          </p:cNvPr>
          <p:cNvSpPr txBox="1">
            <a:spLocks/>
          </p:cNvSpPr>
          <p:nvPr/>
        </p:nvSpPr>
        <p:spPr>
          <a:xfrm>
            <a:off x="4238319" y="4113213"/>
            <a:ext cx="1772051" cy="2063749"/>
          </a:xfrm>
          <a:prstGeom prst="rect">
            <a:avLst/>
          </a:prstGeom>
        </p:spPr>
        <p:txBody>
          <a:bodyPr vert="horz" lIns="0" tIns="0" rIns="0" bIns="0" rtlCol="0">
            <a:noAutofit/>
          </a:bodyPr>
          <a:lstStyle>
            <a:lvl1pPr marL="270000" indent="-270000" algn="l" defTabSz="914400" rtl="0" eaLnBrk="1" latinLnBrk="0" hangingPunct="1">
              <a:lnSpc>
                <a:spcPct val="100000"/>
              </a:lnSpc>
              <a:spcBef>
                <a:spcPts val="1200"/>
              </a:spcBef>
              <a:buFont typeface="Symbol" panose="05050102010706020507" pitchFamily="18" charset="2"/>
              <a:buChar char="-"/>
              <a:defRPr sz="2000" kern="1200">
                <a:solidFill>
                  <a:schemeClr val="bg1"/>
                </a:solidFill>
                <a:latin typeface="+mn-lt"/>
                <a:ea typeface="+mn-ea"/>
                <a:cs typeface="+mn-cs"/>
              </a:defRPr>
            </a:lvl1pPr>
            <a:lvl2pPr marL="540000" indent="-270000" algn="l" defTabSz="914400" rtl="0" eaLnBrk="1" latinLnBrk="0" hangingPunct="1">
              <a:lnSpc>
                <a:spcPct val="100000"/>
              </a:lnSpc>
              <a:spcBef>
                <a:spcPts val="600"/>
              </a:spcBef>
              <a:spcAft>
                <a:spcPts val="600"/>
              </a:spcAft>
              <a:buFont typeface="Symbol" panose="05050102010706020507" pitchFamily="18" charset="2"/>
              <a:buChar char="-"/>
              <a:defRPr sz="2000" kern="1200">
                <a:solidFill>
                  <a:schemeClr val="bg1"/>
                </a:solidFill>
                <a:latin typeface="+mn-lt"/>
                <a:ea typeface="+mn-ea"/>
                <a:cs typeface="+mn-cs"/>
              </a:defRPr>
            </a:lvl2pPr>
            <a:lvl3pPr marL="810000" indent="-270000" algn="l" defTabSz="914400" rtl="0" eaLnBrk="1" latinLnBrk="0" hangingPunct="1">
              <a:lnSpc>
                <a:spcPct val="100000"/>
              </a:lnSpc>
              <a:spcBef>
                <a:spcPts val="300"/>
              </a:spcBef>
              <a:spcAft>
                <a:spcPts val="300"/>
              </a:spcAft>
              <a:buFont typeface="Symbol" panose="05050102010706020507" pitchFamily="18" charset="2"/>
              <a:buChar char="-"/>
              <a:defRPr sz="2000" kern="1200">
                <a:solidFill>
                  <a:schemeClr val="bg1"/>
                </a:solidFill>
                <a:latin typeface="+mn-lt"/>
                <a:ea typeface="+mn-ea"/>
                <a:cs typeface="+mn-cs"/>
              </a:defRPr>
            </a:lvl3pPr>
            <a:lvl4pPr marL="1080000" indent="-270000" algn="l" defTabSz="914400" rtl="0" eaLnBrk="1" latinLnBrk="0" hangingPunct="1">
              <a:lnSpc>
                <a:spcPct val="100000"/>
              </a:lnSpc>
              <a:spcBef>
                <a:spcPts val="100"/>
              </a:spcBef>
              <a:spcAft>
                <a:spcPts val="100"/>
              </a:spcAft>
              <a:buFont typeface="Symbol" panose="05050102010706020507" pitchFamily="18" charset="2"/>
              <a:buChar char="-"/>
              <a:defRPr sz="2000" kern="1200">
                <a:solidFill>
                  <a:schemeClr val="bg1"/>
                </a:solidFill>
                <a:latin typeface="+mn-lt"/>
                <a:ea typeface="+mn-ea"/>
                <a:cs typeface="+mn-cs"/>
              </a:defRPr>
            </a:lvl4pPr>
            <a:lvl5pPr marL="1350000" indent="-270000" algn="l" defTabSz="91440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1200" dirty="0" err="1"/>
              <a:t>Shower</a:t>
            </a:r>
            <a:r>
              <a:rPr lang="de-DE" sz="1200" dirty="0"/>
              <a:t> traps and traps</a:t>
            </a:r>
            <a:br>
              <a:rPr lang="de-DE" sz="1200" dirty="0"/>
            </a:br>
            <a:endParaRPr lang="de-DE" sz="1200" dirty="0"/>
          </a:p>
          <a:p>
            <a:pPr marL="0" indent="0">
              <a:buNone/>
            </a:pPr>
            <a:r>
              <a:rPr lang="en-US" sz="1200" dirty="0"/>
              <a:t>State-of-the-art drainage technology: maximum flexibility shower tray drains and traps for every application.</a:t>
            </a:r>
            <a:endParaRPr lang="de-DE" sz="1200" dirty="0"/>
          </a:p>
        </p:txBody>
      </p:sp>
      <p:sp>
        <p:nvSpPr>
          <p:cNvPr id="11" name="Inhaltsplatzhalter 2">
            <a:extLst>
              <a:ext uri="{FF2B5EF4-FFF2-40B4-BE49-F238E27FC236}">
                <a16:creationId xmlns:a16="http://schemas.microsoft.com/office/drawing/2014/main" id="{D6163A88-9227-C5ED-1E08-0CFD1B2F145E}"/>
              </a:ext>
            </a:extLst>
          </p:cNvPr>
          <p:cNvSpPr txBox="1">
            <a:spLocks/>
          </p:cNvSpPr>
          <p:nvPr/>
        </p:nvSpPr>
        <p:spPr>
          <a:xfrm>
            <a:off x="6153485" y="4113213"/>
            <a:ext cx="1772051" cy="2063749"/>
          </a:xfrm>
          <a:prstGeom prst="rect">
            <a:avLst/>
          </a:prstGeom>
        </p:spPr>
        <p:txBody>
          <a:bodyPr vert="horz" lIns="0" tIns="0" rIns="0" bIns="0" rtlCol="0">
            <a:noAutofit/>
          </a:bodyPr>
          <a:lstStyle>
            <a:lvl1pPr marL="270000" indent="-270000" algn="l" defTabSz="914400" rtl="0" eaLnBrk="1" latinLnBrk="0" hangingPunct="1">
              <a:lnSpc>
                <a:spcPct val="100000"/>
              </a:lnSpc>
              <a:spcBef>
                <a:spcPts val="1200"/>
              </a:spcBef>
              <a:buFont typeface="Symbol" panose="05050102010706020507" pitchFamily="18" charset="2"/>
              <a:buChar char="-"/>
              <a:defRPr sz="2000" kern="1200">
                <a:solidFill>
                  <a:schemeClr val="bg1"/>
                </a:solidFill>
                <a:latin typeface="+mn-lt"/>
                <a:ea typeface="+mn-ea"/>
                <a:cs typeface="+mn-cs"/>
              </a:defRPr>
            </a:lvl1pPr>
            <a:lvl2pPr marL="540000" indent="-270000" algn="l" defTabSz="914400" rtl="0" eaLnBrk="1" latinLnBrk="0" hangingPunct="1">
              <a:lnSpc>
                <a:spcPct val="100000"/>
              </a:lnSpc>
              <a:spcBef>
                <a:spcPts val="600"/>
              </a:spcBef>
              <a:spcAft>
                <a:spcPts val="600"/>
              </a:spcAft>
              <a:buFont typeface="Symbol" panose="05050102010706020507" pitchFamily="18" charset="2"/>
              <a:buChar char="-"/>
              <a:defRPr sz="2000" kern="1200">
                <a:solidFill>
                  <a:schemeClr val="bg1"/>
                </a:solidFill>
                <a:latin typeface="+mn-lt"/>
                <a:ea typeface="+mn-ea"/>
                <a:cs typeface="+mn-cs"/>
              </a:defRPr>
            </a:lvl2pPr>
            <a:lvl3pPr marL="810000" indent="-270000" algn="l" defTabSz="914400" rtl="0" eaLnBrk="1" latinLnBrk="0" hangingPunct="1">
              <a:lnSpc>
                <a:spcPct val="100000"/>
              </a:lnSpc>
              <a:spcBef>
                <a:spcPts val="300"/>
              </a:spcBef>
              <a:spcAft>
                <a:spcPts val="300"/>
              </a:spcAft>
              <a:buFont typeface="Symbol" panose="05050102010706020507" pitchFamily="18" charset="2"/>
              <a:buChar char="-"/>
              <a:defRPr sz="2000" kern="1200">
                <a:solidFill>
                  <a:schemeClr val="bg1"/>
                </a:solidFill>
                <a:latin typeface="+mn-lt"/>
                <a:ea typeface="+mn-ea"/>
                <a:cs typeface="+mn-cs"/>
              </a:defRPr>
            </a:lvl3pPr>
            <a:lvl4pPr marL="1080000" indent="-270000" algn="l" defTabSz="914400" rtl="0" eaLnBrk="1" latinLnBrk="0" hangingPunct="1">
              <a:lnSpc>
                <a:spcPct val="100000"/>
              </a:lnSpc>
              <a:spcBef>
                <a:spcPts val="100"/>
              </a:spcBef>
              <a:spcAft>
                <a:spcPts val="100"/>
              </a:spcAft>
              <a:buFont typeface="Symbol" panose="05050102010706020507" pitchFamily="18" charset="2"/>
              <a:buChar char="-"/>
              <a:defRPr sz="2000" kern="1200">
                <a:solidFill>
                  <a:schemeClr val="bg1"/>
                </a:solidFill>
                <a:latin typeface="+mn-lt"/>
                <a:ea typeface="+mn-ea"/>
                <a:cs typeface="+mn-cs"/>
              </a:defRPr>
            </a:lvl4pPr>
            <a:lvl5pPr marL="1350000" indent="-270000" algn="l" defTabSz="91440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1200" dirty="0"/>
              <a:t>Air-</a:t>
            </a:r>
            <a:r>
              <a:rPr lang="de-DE" sz="1200" dirty="0" err="1"/>
              <a:t>admittance</a:t>
            </a:r>
            <a:r>
              <a:rPr lang="de-DE" sz="1200" dirty="0"/>
              <a:t> </a:t>
            </a:r>
            <a:r>
              <a:rPr lang="de-DE" sz="1200" dirty="0" err="1"/>
              <a:t>valves</a:t>
            </a:r>
            <a:br>
              <a:rPr lang="de-DE" sz="1200" dirty="0"/>
            </a:br>
            <a:endParaRPr lang="de-DE" sz="1200" dirty="0"/>
          </a:p>
          <a:p>
            <a:pPr marL="0" indent="0">
              <a:buNone/>
            </a:pPr>
            <a:r>
              <a:rPr lang="en-US" sz="1200" dirty="0"/>
              <a:t>Advanced technology, compact design: As well as the technology, it is also about how the air-admittance valves blend into the bathroom harmoniously.</a:t>
            </a:r>
            <a:endParaRPr lang="de-DE" sz="1200" dirty="0"/>
          </a:p>
        </p:txBody>
      </p:sp>
      <p:sp>
        <p:nvSpPr>
          <p:cNvPr id="15" name="Inhaltsplatzhalter 2">
            <a:extLst>
              <a:ext uri="{FF2B5EF4-FFF2-40B4-BE49-F238E27FC236}">
                <a16:creationId xmlns:a16="http://schemas.microsoft.com/office/drawing/2014/main" id="{6F8390AA-2E32-D0BE-2DC9-7058C7A129FE}"/>
              </a:ext>
            </a:extLst>
          </p:cNvPr>
          <p:cNvSpPr txBox="1">
            <a:spLocks/>
          </p:cNvSpPr>
          <p:nvPr/>
        </p:nvSpPr>
        <p:spPr>
          <a:xfrm>
            <a:off x="8075863" y="4113213"/>
            <a:ext cx="1772051" cy="2063749"/>
          </a:xfrm>
          <a:prstGeom prst="rect">
            <a:avLst/>
          </a:prstGeom>
        </p:spPr>
        <p:txBody>
          <a:bodyPr vert="horz" lIns="0" tIns="0" rIns="0" bIns="0" rtlCol="0">
            <a:noAutofit/>
          </a:bodyPr>
          <a:lstStyle>
            <a:lvl1pPr marL="270000" indent="-270000" algn="l" defTabSz="914400" rtl="0" eaLnBrk="1" latinLnBrk="0" hangingPunct="1">
              <a:lnSpc>
                <a:spcPct val="100000"/>
              </a:lnSpc>
              <a:spcBef>
                <a:spcPts val="1200"/>
              </a:spcBef>
              <a:buFont typeface="Symbol" panose="05050102010706020507" pitchFamily="18" charset="2"/>
              <a:buChar char="-"/>
              <a:defRPr sz="2000" kern="1200">
                <a:solidFill>
                  <a:schemeClr val="bg1"/>
                </a:solidFill>
                <a:latin typeface="+mn-lt"/>
                <a:ea typeface="+mn-ea"/>
                <a:cs typeface="+mn-cs"/>
              </a:defRPr>
            </a:lvl1pPr>
            <a:lvl2pPr marL="540000" indent="-270000" algn="l" defTabSz="914400" rtl="0" eaLnBrk="1" latinLnBrk="0" hangingPunct="1">
              <a:lnSpc>
                <a:spcPct val="100000"/>
              </a:lnSpc>
              <a:spcBef>
                <a:spcPts val="600"/>
              </a:spcBef>
              <a:spcAft>
                <a:spcPts val="600"/>
              </a:spcAft>
              <a:buFont typeface="Symbol" panose="05050102010706020507" pitchFamily="18" charset="2"/>
              <a:buChar char="-"/>
              <a:defRPr sz="2000" kern="1200">
                <a:solidFill>
                  <a:schemeClr val="bg1"/>
                </a:solidFill>
                <a:latin typeface="+mn-lt"/>
                <a:ea typeface="+mn-ea"/>
                <a:cs typeface="+mn-cs"/>
              </a:defRPr>
            </a:lvl2pPr>
            <a:lvl3pPr marL="810000" indent="-270000" algn="l" defTabSz="914400" rtl="0" eaLnBrk="1" latinLnBrk="0" hangingPunct="1">
              <a:lnSpc>
                <a:spcPct val="100000"/>
              </a:lnSpc>
              <a:spcBef>
                <a:spcPts val="300"/>
              </a:spcBef>
              <a:spcAft>
                <a:spcPts val="300"/>
              </a:spcAft>
              <a:buFont typeface="Symbol" panose="05050102010706020507" pitchFamily="18" charset="2"/>
              <a:buChar char="-"/>
              <a:defRPr sz="2000" kern="1200">
                <a:solidFill>
                  <a:schemeClr val="bg1"/>
                </a:solidFill>
                <a:latin typeface="+mn-lt"/>
                <a:ea typeface="+mn-ea"/>
                <a:cs typeface="+mn-cs"/>
              </a:defRPr>
            </a:lvl3pPr>
            <a:lvl4pPr marL="1080000" indent="-270000" algn="l" defTabSz="914400" rtl="0" eaLnBrk="1" latinLnBrk="0" hangingPunct="1">
              <a:lnSpc>
                <a:spcPct val="100000"/>
              </a:lnSpc>
              <a:spcBef>
                <a:spcPts val="100"/>
              </a:spcBef>
              <a:spcAft>
                <a:spcPts val="100"/>
              </a:spcAft>
              <a:buFont typeface="Symbol" panose="05050102010706020507" pitchFamily="18" charset="2"/>
              <a:buChar char="-"/>
              <a:defRPr sz="2000" kern="1200">
                <a:solidFill>
                  <a:schemeClr val="bg1"/>
                </a:solidFill>
                <a:latin typeface="+mn-lt"/>
                <a:ea typeface="+mn-ea"/>
                <a:cs typeface="+mn-cs"/>
              </a:defRPr>
            </a:lvl4pPr>
            <a:lvl5pPr marL="1350000" indent="-270000" algn="l" defTabSz="91440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Cellar drains and anti-flooding valves</a:t>
            </a:r>
          </a:p>
          <a:p>
            <a:pPr marL="0" indent="0">
              <a:buNone/>
            </a:pPr>
            <a:r>
              <a:rPr lang="en-US" sz="1200" dirty="0"/>
              <a:t>Underneath the backflow level, anti-flooding valves and cellar drains with anti-flooding valves ensure safe drainage. </a:t>
            </a:r>
            <a:endParaRPr lang="de-DE" sz="1200" dirty="0"/>
          </a:p>
        </p:txBody>
      </p:sp>
      <p:sp>
        <p:nvSpPr>
          <p:cNvPr id="16" name="Inhaltsplatzhalter 2">
            <a:extLst>
              <a:ext uri="{FF2B5EF4-FFF2-40B4-BE49-F238E27FC236}">
                <a16:creationId xmlns:a16="http://schemas.microsoft.com/office/drawing/2014/main" id="{4D93CA7D-CE01-04F9-057E-9752CE576D4B}"/>
              </a:ext>
            </a:extLst>
          </p:cNvPr>
          <p:cNvSpPr txBox="1">
            <a:spLocks/>
          </p:cNvSpPr>
          <p:nvPr/>
        </p:nvSpPr>
        <p:spPr>
          <a:xfrm>
            <a:off x="9987589" y="4137026"/>
            <a:ext cx="1772051" cy="2063749"/>
          </a:xfrm>
          <a:prstGeom prst="rect">
            <a:avLst/>
          </a:prstGeom>
        </p:spPr>
        <p:txBody>
          <a:bodyPr vert="horz" lIns="0" tIns="0" rIns="0" bIns="0" rtlCol="0">
            <a:noAutofit/>
          </a:bodyPr>
          <a:lstStyle>
            <a:lvl1pPr marL="270000" indent="-270000" algn="l" defTabSz="914400" rtl="0" eaLnBrk="1" latinLnBrk="0" hangingPunct="1">
              <a:lnSpc>
                <a:spcPct val="100000"/>
              </a:lnSpc>
              <a:spcBef>
                <a:spcPts val="1200"/>
              </a:spcBef>
              <a:buFont typeface="Symbol" panose="05050102010706020507" pitchFamily="18" charset="2"/>
              <a:buChar char="-"/>
              <a:defRPr sz="2000" kern="1200">
                <a:solidFill>
                  <a:schemeClr val="bg1"/>
                </a:solidFill>
                <a:latin typeface="+mn-lt"/>
                <a:ea typeface="+mn-ea"/>
                <a:cs typeface="+mn-cs"/>
              </a:defRPr>
            </a:lvl1pPr>
            <a:lvl2pPr marL="540000" indent="-270000" algn="l" defTabSz="914400" rtl="0" eaLnBrk="1" latinLnBrk="0" hangingPunct="1">
              <a:lnSpc>
                <a:spcPct val="100000"/>
              </a:lnSpc>
              <a:spcBef>
                <a:spcPts val="600"/>
              </a:spcBef>
              <a:spcAft>
                <a:spcPts val="600"/>
              </a:spcAft>
              <a:buFont typeface="Symbol" panose="05050102010706020507" pitchFamily="18" charset="2"/>
              <a:buChar char="-"/>
              <a:defRPr sz="2000" kern="1200">
                <a:solidFill>
                  <a:schemeClr val="bg1"/>
                </a:solidFill>
                <a:latin typeface="+mn-lt"/>
                <a:ea typeface="+mn-ea"/>
                <a:cs typeface="+mn-cs"/>
              </a:defRPr>
            </a:lvl2pPr>
            <a:lvl3pPr marL="810000" indent="-270000" algn="l" defTabSz="914400" rtl="0" eaLnBrk="1" latinLnBrk="0" hangingPunct="1">
              <a:lnSpc>
                <a:spcPct val="100000"/>
              </a:lnSpc>
              <a:spcBef>
                <a:spcPts val="300"/>
              </a:spcBef>
              <a:spcAft>
                <a:spcPts val="300"/>
              </a:spcAft>
              <a:buFont typeface="Symbol" panose="05050102010706020507" pitchFamily="18" charset="2"/>
              <a:buChar char="-"/>
              <a:defRPr sz="2000" kern="1200">
                <a:solidFill>
                  <a:schemeClr val="bg1"/>
                </a:solidFill>
                <a:latin typeface="+mn-lt"/>
                <a:ea typeface="+mn-ea"/>
                <a:cs typeface="+mn-cs"/>
              </a:defRPr>
            </a:lvl3pPr>
            <a:lvl4pPr marL="1080000" indent="-270000" algn="l" defTabSz="914400" rtl="0" eaLnBrk="1" latinLnBrk="0" hangingPunct="1">
              <a:lnSpc>
                <a:spcPct val="100000"/>
              </a:lnSpc>
              <a:spcBef>
                <a:spcPts val="100"/>
              </a:spcBef>
              <a:spcAft>
                <a:spcPts val="100"/>
              </a:spcAft>
              <a:buFont typeface="Symbol" panose="05050102010706020507" pitchFamily="18" charset="2"/>
              <a:buChar char="-"/>
              <a:defRPr sz="2000" kern="1200">
                <a:solidFill>
                  <a:schemeClr val="bg1"/>
                </a:solidFill>
                <a:latin typeface="+mn-lt"/>
                <a:ea typeface="+mn-ea"/>
                <a:cs typeface="+mn-cs"/>
              </a:defRPr>
            </a:lvl4pPr>
            <a:lvl5pPr marL="1350000" indent="-270000" algn="l" defTabSz="91440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1200" dirty="0"/>
              <a:t>Roof and </a:t>
            </a:r>
            <a:r>
              <a:rPr lang="de-DE" sz="1200" dirty="0" err="1"/>
              <a:t>balcony</a:t>
            </a:r>
            <a:r>
              <a:rPr lang="de-DE" sz="1200" dirty="0"/>
              <a:t> </a:t>
            </a:r>
            <a:r>
              <a:rPr lang="de-DE" sz="1200" dirty="0" err="1"/>
              <a:t>drains</a:t>
            </a:r>
            <a:br>
              <a:rPr lang="de-DE" sz="1200" dirty="0"/>
            </a:br>
            <a:endParaRPr lang="de-DE" sz="1200" dirty="0"/>
          </a:p>
          <a:p>
            <a:pPr marL="0" indent="0">
              <a:buNone/>
            </a:pPr>
            <a:r>
              <a:rPr lang="en-US" sz="1200" dirty="0"/>
              <a:t>Technically sophisticated solutions for flat roof drainage and renovation as well as for balcony drainage.</a:t>
            </a:r>
            <a:endParaRPr lang="de-DE" sz="1200" dirty="0"/>
          </a:p>
        </p:txBody>
      </p:sp>
      <p:pic>
        <p:nvPicPr>
          <p:cNvPr id="18" name="Grafik 17" descr="Ein Bild, das Gelände, draußen, Straße, einzeln enthält.&#10;&#10;Automatisch generierte Beschreibung">
            <a:extLst>
              <a:ext uri="{FF2B5EF4-FFF2-40B4-BE49-F238E27FC236}">
                <a16:creationId xmlns:a16="http://schemas.microsoft.com/office/drawing/2014/main" id="{230B9590-6B95-5072-35FD-4807159EE98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993244" y="1850365"/>
            <a:ext cx="1664658" cy="2161539"/>
          </a:xfrm>
          <a:prstGeom prst="rect">
            <a:avLst/>
          </a:prstGeom>
        </p:spPr>
      </p:pic>
      <p:pic>
        <p:nvPicPr>
          <p:cNvPr id="21" name="Grafik 20" descr="Ein Bild, das Pfeife Flöte Rohr, Zylinder, Wand, Im Haus enthält.&#10;&#10;Automatisch generierte Beschreibung">
            <a:extLst>
              <a:ext uri="{FF2B5EF4-FFF2-40B4-BE49-F238E27FC236}">
                <a16:creationId xmlns:a16="http://schemas.microsoft.com/office/drawing/2014/main" id="{9E76D6C7-EAB1-D2C1-22FC-8D6644762F2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075202" y="1843523"/>
            <a:ext cx="1669616" cy="2160631"/>
          </a:xfrm>
          <a:prstGeom prst="rect">
            <a:avLst/>
          </a:prstGeom>
        </p:spPr>
      </p:pic>
      <p:pic>
        <p:nvPicPr>
          <p:cNvPr id="23" name="Grafik 22" descr="Ein Bild, das Wand, Badezimmer, Im Haus, Türgriff enthält.&#10;&#10;Automatisch generierte Beschreibung">
            <a:extLst>
              <a:ext uri="{FF2B5EF4-FFF2-40B4-BE49-F238E27FC236}">
                <a16:creationId xmlns:a16="http://schemas.microsoft.com/office/drawing/2014/main" id="{E0E0C52F-42DB-7AE9-4E58-EA6F107D9FA0}"/>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244400" y="1843200"/>
            <a:ext cx="1669616" cy="2160240"/>
          </a:xfrm>
          <a:prstGeom prst="rect">
            <a:avLst/>
          </a:prstGeom>
        </p:spPr>
      </p:pic>
      <p:pic>
        <p:nvPicPr>
          <p:cNvPr id="25" name="Grafik 24" descr="Ein Bild, das Wand, Badezimmer, Im Haus, Schwarzweiß enthält.&#10;&#10;Automatisch generierte Beschreibung">
            <a:extLst>
              <a:ext uri="{FF2B5EF4-FFF2-40B4-BE49-F238E27FC236}">
                <a16:creationId xmlns:a16="http://schemas.microsoft.com/office/drawing/2014/main" id="{54C588E9-570A-91D5-6C42-2F1EDC85E85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t="-317"/>
          <a:stretch/>
        </p:blipFill>
        <p:spPr>
          <a:xfrm>
            <a:off x="6156000" y="1843200"/>
            <a:ext cx="1664658" cy="2165817"/>
          </a:xfrm>
          <a:prstGeom prst="rect">
            <a:avLst/>
          </a:prstGeom>
        </p:spPr>
      </p:pic>
      <p:pic>
        <p:nvPicPr>
          <p:cNvPr id="27" name="Grafik 26" descr="Ein Bild, das Schwarzweiß, Wand, Kunst, Im Haus enthält.&#10;&#10;Automatisch generierte Beschreibung">
            <a:extLst>
              <a:ext uri="{FF2B5EF4-FFF2-40B4-BE49-F238E27FC236}">
                <a16:creationId xmlns:a16="http://schemas.microsoft.com/office/drawing/2014/main" id="{B182DCFE-95C3-C69D-ECFF-DBA952EE0A10}"/>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t="-361" r="-799"/>
          <a:stretch/>
        </p:blipFill>
        <p:spPr>
          <a:xfrm>
            <a:off x="406800" y="1843200"/>
            <a:ext cx="1669616" cy="2165367"/>
          </a:xfrm>
          <a:prstGeom prst="rect">
            <a:avLst/>
          </a:prstGeom>
        </p:spPr>
      </p:pic>
      <p:pic>
        <p:nvPicPr>
          <p:cNvPr id="29" name="Grafik 28" descr="Ein Bild, das Grau, Gebäude, Boden, Gelände enthält.&#10;&#10;Automatisch generierte Beschreibung">
            <a:extLst>
              <a:ext uri="{FF2B5EF4-FFF2-40B4-BE49-F238E27FC236}">
                <a16:creationId xmlns:a16="http://schemas.microsoft.com/office/drawing/2014/main" id="{8C658EFC-8913-5883-BA84-6F9247ABDC57}"/>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2325600" y="1843523"/>
            <a:ext cx="1669617" cy="2159621"/>
          </a:xfrm>
          <a:prstGeom prst="rect">
            <a:avLst/>
          </a:prstGeom>
        </p:spPr>
      </p:pic>
    </p:spTree>
    <p:extLst>
      <p:ext uri="{BB962C8B-B14F-4D97-AF65-F5344CB8AC3E}">
        <p14:creationId xmlns:p14="http://schemas.microsoft.com/office/powerpoint/2010/main" val="26823288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MAAAAAAAAAAwAAAAMAAAAA/////wUAFgwAAAAAAAAAAAAAIAD///////////////8AAAD///////////////8DAAAAAgD///////////////////////////////////////////////////////////////////////////////////////////////////////////////////////////////////////////////////////////////////////////////////////////////////////////////////////////////////////////////////////////////////////////////////////////////////////////////////////////////////////////////////////////////////////////////////////////////////////////////////////////////////////////////////////////////////////////////////////////////////////////////8BACAA////////////////AAAO////////AwAAAAQA////////////////////////////////////////////////////////////////////////////////////////////////////////////////////////////////////////////////////////////////////////////////////////////////////////////////////////////////////////////////////////////////////////////////////////////////////////////////////////////////////////////////////////////////////////////////////////////////////////////////////////////////////////////////////////////////////////////////////////////////////////////////////////AgABAP///////wUAAAACABAACxiMZE6sdUFDmJA+lDnZ9uMEAAAAAAADAAAAAAADAAAAAwADAAEA////////BQAAAAMAEAALaSTTjaBlu0G0RP1T1as6sQQAAAABAAMAAAACAAMAAAAEAAQAAQD///////8FAAAABAAQAAtxhjm3vBBZTJzV5daTyVJ/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GIxkTqx1QUOYkD6UOdn24wNEYXRhABsAAAAETGlua2VkU2hhcGVEYXRhAAUAAAAAAAJOYW1lABkAAABMaW5rZWRTaGFwZXNEYXRhUHJvcGVydHkAEFZlcnNpb24AAAAAAAlMYXN0V3JpdGUAxV9qQo4BAAAAAQD/////gwCDAAAABV9pZAAQAAAABGkk042gZbtBtET9U9WrOrEDRGF0YQAbAAAABExpbmtlZFNoYXBlRGF0YQAFAAAAAAACTmFtZQAZAAAATGlua2VkU2hhcGVzRGF0YVByb3BlcnR5ABBWZXJzaW9uAAEAAAAJTGFzdFdyaXRlAA1gakKOAQAAAAIA/////8YAxgAAAAVfaWQAEAAAAARxhjm3vBBZTJzV5daTyVJ/A0RhdGEAUwAAAAhQcmVzZW50YXRpb25TY2FubmVkRm9yTGlua2VkU2hhcGVzAAACTnVtYmVyRm9ybWF0U2VwYXJhdG9yTW9kZQAKAAAAQXV0b21hdGljAAACTmFtZQAkAAAATGlua2VkU2hhcGVQcmVzZW50YXRpb25TZXR0aW5nc0RhdGEAEFZlcnNpb24AAAAAAAlMYXN0V3JpdGUAGGBqQo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9CwAAAAAAAAAAAAAgAf///////////////wAAAP///////////////wUAAAAEAP///////wUAAAAEAP///////wUAAAAEAP///////wUAAAAEAP///////////////////////////////////////////////////////////////////////////////////////////////////////////////////////////////////////////////////////////////////////////////////////////////////////////////////////////////////////////////////////////////////////////////////////////////////////////////////////////////////////////////////////////////////////////////////////////////////////////////////////////////////////////////////////////////wEAIAH///////////////8AAA7///////8FAAAAAwD///////////////////////////////////////////////////////////////////////////////////////////////////////////////////////////////////////////////////////////////////////////////////////////////////////////////////////////////////////////////////////////////////////////////////////////////////////////////////////////////////////////////////////////////////////////////////////////////////////////////////////////////////////////////////////////////////////////////////////////////////////////////////////8CAAEBAwAAAAIA////////GgAGTGlua2VkU2hhcGVzRGF0YVByb3BlcnR5XzAEAAAAAAAFAAAABAAFAAAAAwADAAIBAwAAAAMA////////GgAGTGlua2VkU2hhcGVzRGF0YVByb3BlcnR5XzEEAAAAAQAFAAAAAgAFAAAAAQAFAAAABAD///////8EAAQBAwAAAAQA////////JQAGTGlua2VkU2hhcGVQcmVzZW50YXRpb25TZXR0aW5nc0RhdGFfMAQAAAACAAUAAAAAAAUAAAACAAUAAAAAAAUAAAADAAUAAAAAAP///////wU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61080516755554"/>
  <p:tag name="EMPOWERCHARTSPROPERTIES_A_LENGTH" val="24576"/>
  <p:tag name="MIO_PRESENTATION_LANGUAGE" val="103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1n6m6R53+JMie6MctTIX94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n6m6R53+JMie6MctTIX94DRGF0YQAWAAAAAlBlcnNvbmFsSWQAAQAAAAAAAk5hbWUACwAAAFBlcnNvbmFsSWQAEFZlcnNpb24AAAAAAAlMYXN0V3JpdGUAAw1D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63571325852792"/>
  <p:tag name="EMPOWERCHARTSPROPERTIES_A_LENGTH" val="24576"/>
  <p:tag name="RUNTIME_ID" val="ef018997-e090-4943-9fea-3c2e6c83a850"/>
</p:tagLst>
</file>

<file path=ppt/tags/tag1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iieHUuItZOnNfuR7KS/Js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PiieHUuItZOnNfuR7KS/JsDRGF0YQAWAAAAAlBlcnNvbmFsSWQAAQAAAAAAAk5hbWUACwAAAFBlcnNvbmFsSWQAEFZlcnNpb24AAAAAAAlMYXN0V3JpdGUABwxD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63571323321204"/>
  <p:tag name="EMPOWERCHARTSPROPERTIES_A_LENGTH" val="24576"/>
  <p:tag name="RUNTIME_ID" val="832b5184-4326-4883-9b1e-7c0b56c1a1f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ALLMER">
  <a:themeElements>
    <a:clrScheme name="Dallmer">
      <a:dk1>
        <a:sysClr val="windowText" lastClr="000000"/>
      </a:dk1>
      <a:lt1>
        <a:sysClr val="window" lastClr="FFFFFF"/>
      </a:lt1>
      <a:dk2>
        <a:srgbClr val="8DA696"/>
      </a:dk2>
      <a:lt2>
        <a:srgbClr val="D9D9D9"/>
      </a:lt2>
      <a:accent1>
        <a:srgbClr val="009DE0"/>
      </a:accent1>
      <a:accent2>
        <a:srgbClr val="126A89"/>
      </a:accent2>
      <a:accent3>
        <a:srgbClr val="9B9B9A"/>
      </a:accent3>
      <a:accent4>
        <a:srgbClr val="214F31"/>
      </a:accent4>
      <a:accent5>
        <a:srgbClr val="3083A0"/>
      </a:accent5>
      <a:accent6>
        <a:srgbClr val="C8D0C8"/>
      </a:accent6>
      <a:hlink>
        <a:srgbClr val="055975"/>
      </a:hlink>
      <a:folHlink>
        <a:srgbClr val="808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2000" dirty="0" smtClean="0"/>
        </a:defPPr>
      </a:lstStyle>
      <a:style>
        <a:lnRef idx="2">
          <a:schemeClr val="accent1">
            <a:shade val="15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2">
          <a:schemeClr val="accent1"/>
        </a:lnRef>
        <a:fillRef idx="0">
          <a:schemeClr val="accent1"/>
        </a:fillRef>
        <a:effectRef idx="1">
          <a:schemeClr val="accent1"/>
        </a:effectRef>
        <a:fontRef idx="minor">
          <a:schemeClr val="tx1"/>
        </a:fontRef>
      </a:style>
    </a:lnDef>
    <a:txDef>
      <a:spPr>
        <a:noFill/>
      </a:spPr>
      <a:bodyPr wrap="non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Präsentation1" id="{2BA3996D-F72B-9F43-A10F-8BE6D208CDC6}" vid="{94F1FB47-DCD9-1A46-96CE-0976D37096AB}"/>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DALLMER</Template>
  <TotalTime>0</TotalTime>
  <Words>505</Words>
  <Application>Microsoft Office PowerPoint</Application>
  <PresentationFormat>Breitbild</PresentationFormat>
  <Paragraphs>48</Paragraphs>
  <Slides>6</Slides>
  <Notes>5</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6</vt:i4>
      </vt:variant>
    </vt:vector>
  </HeadingPairs>
  <TitlesOfParts>
    <vt:vector size="13" baseType="lpstr">
      <vt:lpstr>Arial</vt:lpstr>
      <vt:lpstr>Symbol</vt:lpstr>
      <vt:lpstr>Univers LT Std</vt:lpstr>
      <vt:lpstr>Univers LT Std 47 Cn Lt</vt:lpstr>
      <vt:lpstr>Univers Next Pro</vt:lpstr>
      <vt:lpstr>DALLMER</vt:lpstr>
      <vt:lpstr>think-cell Folie</vt:lpstr>
      <vt:lpstr>Company pre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llgemeine Titel-Folie ohne Bild Layout ‚Titelfolie dunkel‘</dc:title>
  <dc:creator>Pauline Brisch</dc:creator>
  <cp:lastModifiedBy>Yvonne Hennig</cp:lastModifiedBy>
  <cp:revision>25</cp:revision>
  <dcterms:created xsi:type="dcterms:W3CDTF">2024-05-14T13:56:43Z</dcterms:created>
  <dcterms:modified xsi:type="dcterms:W3CDTF">2024-09-19T12:54:50Z</dcterms:modified>
</cp:coreProperties>
</file>